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" ContentType="image/tif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9.xml" ContentType="application/vnd.openxmlformats-officedocument.presentationml.tags+xml"/>
  <Override PartName="/ppt/notesSlides/notesSlide11.xml" ContentType="application/vnd.openxmlformats-officedocument.presentationml.notesSlide+xml"/>
  <Override PartName="/ppt/tags/tag10.xml" ContentType="application/vnd.openxmlformats-officedocument.presentationml.tags+xml"/>
  <Override PartName="/ppt/notesSlides/notesSlide12.xml" ContentType="application/vnd.openxmlformats-officedocument.presentationml.notesSlide+xml"/>
  <Override PartName="/ppt/tags/tag11.xml" ContentType="application/vnd.openxmlformats-officedocument.presentationml.tags+xml"/>
  <Override PartName="/ppt/notesSlides/notesSlide13.xml" ContentType="application/vnd.openxmlformats-officedocument.presentationml.notesSlide+xml"/>
  <Override PartName="/ppt/tags/tag12.xml" ContentType="application/vnd.openxmlformats-officedocument.presentationml.tags+xml"/>
  <Override PartName="/ppt/notesSlides/notesSlide14.xml" ContentType="application/vnd.openxmlformats-officedocument.presentationml.notesSlide+xml"/>
  <Override PartName="/ppt/tags/tag13.xml" ContentType="application/vnd.openxmlformats-officedocument.presentationml.tags+xml"/>
  <Override PartName="/ppt/notesSlides/notesSlide15.xml" ContentType="application/vnd.openxmlformats-officedocument.presentationml.notesSlide+xml"/>
  <Override PartName="/ppt/tags/tag14.xml" ContentType="application/vnd.openxmlformats-officedocument.presentationml.tags+xml"/>
  <Override PartName="/ppt/notesSlides/notesSlide16.xml" ContentType="application/vnd.openxmlformats-officedocument.presentationml.notesSlide+xml"/>
  <Override PartName="/ppt/tags/tag15.xml" ContentType="application/vnd.openxmlformats-officedocument.presentationml.tags+xml"/>
  <Override PartName="/ppt/notesSlides/notesSlide17.xml" ContentType="application/vnd.openxmlformats-officedocument.presentationml.notesSlide+xml"/>
  <Override PartName="/ppt/tags/tag16.xml" ContentType="application/vnd.openxmlformats-officedocument.presentationml.tags+xml"/>
  <Override PartName="/ppt/notesSlides/notesSlide18.xml" ContentType="application/vnd.openxmlformats-officedocument.presentationml.notesSlide+xml"/>
  <Override PartName="/ppt/tags/tag17.xml" ContentType="application/vnd.openxmlformats-officedocument.presentationml.tags+xml"/>
  <Override PartName="/ppt/notesSlides/notesSlide1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4"/>
  </p:notesMasterIdLst>
  <p:handoutMasterIdLst>
    <p:handoutMasterId r:id="rId25"/>
  </p:handoutMasterIdLst>
  <p:sldIdLst>
    <p:sldId id="325" r:id="rId2"/>
    <p:sldId id="626" r:id="rId3"/>
    <p:sldId id="628" r:id="rId4"/>
    <p:sldId id="608" r:id="rId5"/>
    <p:sldId id="609" r:id="rId6"/>
    <p:sldId id="629" r:id="rId7"/>
    <p:sldId id="630" r:id="rId8"/>
    <p:sldId id="612" r:id="rId9"/>
    <p:sldId id="631" r:id="rId10"/>
    <p:sldId id="632" r:id="rId11"/>
    <p:sldId id="615" r:id="rId12"/>
    <p:sldId id="633" r:id="rId13"/>
    <p:sldId id="634" r:id="rId14"/>
    <p:sldId id="635" r:id="rId15"/>
    <p:sldId id="636" r:id="rId16"/>
    <p:sldId id="639" r:id="rId17"/>
    <p:sldId id="638" r:id="rId18"/>
    <p:sldId id="640" r:id="rId19"/>
    <p:sldId id="637" r:id="rId20"/>
    <p:sldId id="641" r:id="rId21"/>
    <p:sldId id="643" r:id="rId22"/>
    <p:sldId id="642" r:id="rId23"/>
  </p:sldIdLst>
  <p:sldSz cx="12192000" cy="6858000"/>
  <p:notesSz cx="6805613" cy="9944100"/>
  <p:custDataLst>
    <p:tags r:id="rId26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90" userDrawn="1">
          <p15:clr>
            <a:srgbClr val="A4A3A4"/>
          </p15:clr>
        </p15:guide>
        <p15:guide id="3" pos="347" userDrawn="1">
          <p15:clr>
            <a:srgbClr val="A4A3A4"/>
          </p15:clr>
        </p15:guide>
        <p15:guide id="5" pos="7650" userDrawn="1">
          <p15:clr>
            <a:srgbClr val="A4A3A4"/>
          </p15:clr>
        </p15:guide>
        <p15:guide id="6" orient="horz" pos="1200" userDrawn="1">
          <p15:clr>
            <a:srgbClr val="A4A3A4"/>
          </p15:clr>
        </p15:guide>
        <p15:guide id="7" pos="69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64214"/>
    <a:srgbClr val="EAB200"/>
    <a:srgbClr val="ED7D31"/>
    <a:srgbClr val="2F5597"/>
    <a:srgbClr val="FFD966"/>
    <a:srgbClr val="00B0F0"/>
    <a:srgbClr val="FF99CC"/>
    <a:srgbClr val="00B050"/>
    <a:srgbClr val="B1BDF1"/>
    <a:srgbClr val="95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296" autoAdjust="0"/>
  </p:normalViewPr>
  <p:slideViewPr>
    <p:cSldViewPr snapToGrid="0">
      <p:cViewPr varScale="1">
        <p:scale>
          <a:sx n="112" d="100"/>
          <a:sy n="112" d="100"/>
        </p:scale>
        <p:origin x="552" y="102"/>
      </p:cViewPr>
      <p:guideLst>
        <p:guide orient="horz" pos="890"/>
        <p:guide pos="347"/>
        <p:guide pos="7650"/>
        <p:guide orient="horz" pos="1200"/>
        <p:guide pos="692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-3384"/>
    </p:cViewPr>
  </p:sorterViewPr>
  <p:notesViewPr>
    <p:cSldViewPr snapToGrid="0">
      <p:cViewPr>
        <p:scale>
          <a:sx n="130" d="100"/>
          <a:sy n="130" d="100"/>
        </p:scale>
        <p:origin x="192" y="-48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543-4495-A287-D7A469FBD0FE}"/>
              </c:ext>
            </c:extLst>
          </c:dPt>
          <c:dPt>
            <c:idx val="1"/>
            <c:bubble3D val="0"/>
            <c:spPr>
              <a:solidFill>
                <a:srgbClr val="00B0F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543-4495-A287-D7A469FBD0FE}"/>
              </c:ext>
            </c:extLst>
          </c:dPt>
          <c:dPt>
            <c:idx val="2"/>
            <c:bubble3D val="0"/>
            <c:spPr>
              <a:solidFill>
                <a:schemeClr val="accent5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543-4495-A287-D7A469FBD0FE}"/>
              </c:ext>
            </c:extLst>
          </c:dPt>
          <c:dPt>
            <c:idx val="3"/>
            <c:bubble3D val="0"/>
            <c:spPr>
              <a:solidFill>
                <a:srgbClr val="00B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543-4495-A287-D7A469FBD0FE}"/>
              </c:ext>
            </c:extLst>
          </c:dPt>
          <c:dPt>
            <c:idx val="4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A543-4495-A287-D7A469FBD0FE}"/>
              </c:ext>
            </c:extLst>
          </c:dPt>
          <c:val>
            <c:numRef>
              <c:f>Лист1!$N$13:$N$17</c:f>
              <c:numCache>
                <c:formatCode>General</c:formatCode>
                <c:ptCount val="5"/>
                <c:pt idx="0">
                  <c:v>20</c:v>
                </c:pt>
                <c:pt idx="1">
                  <c:v>20</c:v>
                </c:pt>
                <c:pt idx="2">
                  <c:v>20</c:v>
                </c:pt>
                <c:pt idx="3">
                  <c:v>20</c:v>
                </c:pt>
                <c:pt idx="4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543-4495-A287-D7A469FBD0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38.jpeg"/></Relationships>
</file>

<file path=ppt/diagrams/_rels/data2.xml.rels><?xml version="1.0" encoding="UTF-8" standalone="yes"?>
<Relationships xmlns="http://schemas.openxmlformats.org/package/2006/relationships"><Relationship Id="rId1" Type="http://schemas.openxmlformats.org/officeDocument/2006/relationships/image" Target="../media/image39.jpeg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38.jpeg"/></Relationships>
</file>

<file path=ppt/diagrams/_rels/drawing2.xml.rels><?xml version="1.0" encoding="UTF-8" standalone="yes"?>
<Relationships xmlns="http://schemas.openxmlformats.org/package/2006/relationships"><Relationship Id="rId1" Type="http://schemas.openxmlformats.org/officeDocument/2006/relationships/image" Target="../media/image39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D763BC5-AE12-4E65-B2A3-1CF78DBB856F}" type="doc">
      <dgm:prSet loTypeId="urn:microsoft.com/office/officeart/2008/layout/CircularPictureCallout" loCatId="picture" qsTypeId="urn:microsoft.com/office/officeart/2005/8/quickstyle/simple1" qsCatId="simple" csTypeId="urn:microsoft.com/office/officeart/2005/8/colors/accent1_2" csCatId="accent1" phldr="1"/>
      <dgm:spPr/>
    </dgm:pt>
    <dgm:pt modelId="{6FD654BE-F717-4595-B350-68318810257A}">
      <dgm:prSet phldrT="[Текст]" phldr="1"/>
      <dgm:spPr/>
      <dgm:t>
        <a:bodyPr/>
        <a:lstStyle/>
        <a:p>
          <a:endParaRPr lang="ru-RU" dirty="0"/>
        </a:p>
      </dgm:t>
    </dgm:pt>
    <dgm:pt modelId="{24A30056-F440-4983-8D09-18E8485734DB}" type="parTrans" cxnId="{D57200E8-E1AD-42EA-953A-136F64B47084}">
      <dgm:prSet/>
      <dgm:spPr/>
      <dgm:t>
        <a:bodyPr/>
        <a:lstStyle/>
        <a:p>
          <a:endParaRPr lang="ru-RU"/>
        </a:p>
      </dgm:t>
    </dgm:pt>
    <dgm:pt modelId="{F3EBCFBA-F68D-46BA-86EE-849433EB8910}" type="sibTrans" cxnId="{D57200E8-E1AD-42EA-953A-136F64B47084}">
      <dgm:prSet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</dgm:spPr>
      <dgm:t>
        <a:bodyPr/>
        <a:lstStyle/>
        <a:p>
          <a:endParaRPr lang="ru-RU"/>
        </a:p>
      </dgm:t>
      <dgm:extLst>
        <a:ext uri="{E40237B7-FDA0-4F09-8148-C483321AD2D9}">
          <dgm14:cNvPr xmlns:dgm14="http://schemas.microsoft.com/office/drawing/2010/diagram" id="0" name="" descr="ÐÐ°ÑÑÐ¸Ð½ÐºÐ¸ Ð¿Ð¾ Ð·Ð°Ð¿ÑÐ¾ÑÑ ÐºÑÑÑÑ Ð¿Ð¾Ð²ÑÑÐµÐ½Ð¸Ñ ÐºÐ²Ð°Ð»Ð¸ÑÐ¸ÐºÐ°ÑÐ¸Ð¸"/>
        </a:ext>
      </dgm:extLst>
    </dgm:pt>
    <dgm:pt modelId="{D47FAA42-1630-4CFD-B972-A1308E01E8A2}" type="pres">
      <dgm:prSet presAssocID="{8D763BC5-AE12-4E65-B2A3-1CF78DBB856F}" presName="Name0" presStyleCnt="0">
        <dgm:presLayoutVars>
          <dgm:chMax val="7"/>
          <dgm:chPref val="7"/>
          <dgm:dir/>
        </dgm:presLayoutVars>
      </dgm:prSet>
      <dgm:spPr/>
    </dgm:pt>
    <dgm:pt modelId="{3423AD57-EE59-466F-8B46-378E3AB73C46}" type="pres">
      <dgm:prSet presAssocID="{8D763BC5-AE12-4E65-B2A3-1CF78DBB856F}" presName="Name1" presStyleCnt="0"/>
      <dgm:spPr/>
    </dgm:pt>
    <dgm:pt modelId="{4B8F7384-7D00-4C02-B6F8-146AA591B826}" type="pres">
      <dgm:prSet presAssocID="{F3EBCFBA-F68D-46BA-86EE-849433EB8910}" presName="picture_1" presStyleCnt="0"/>
      <dgm:spPr/>
    </dgm:pt>
    <dgm:pt modelId="{20ED295D-5444-4FB6-8C62-32F43668FD2A}" type="pres">
      <dgm:prSet presAssocID="{F3EBCFBA-F68D-46BA-86EE-849433EB8910}" presName="pictureRepeatNode" presStyleLbl="alignImgPlace1" presStyleIdx="0" presStyleCnt="1" custScaleX="89603" custScaleY="89448" custLinFactNeighborX="-4775" custLinFactNeighborY="2257"/>
      <dgm:spPr/>
      <dgm:t>
        <a:bodyPr/>
        <a:lstStyle/>
        <a:p>
          <a:endParaRPr lang="ru-RU"/>
        </a:p>
      </dgm:t>
    </dgm:pt>
    <dgm:pt modelId="{AA5B3332-AA74-458E-8B10-5BCDD19B8510}" type="pres">
      <dgm:prSet presAssocID="{6FD654BE-F717-4595-B350-68318810257A}" presName="text_1" presStyleLbl="node1" presStyleIdx="0" presStyleCnt="0" custFlipHor="1" custScaleX="4657" custScaleY="4973" custLinFactX="-100000" custLinFactY="100000" custLinFactNeighborX="-120326" custLinFactNeighborY="13957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46FA5A6A-02DD-435F-8128-6D4E22761B1D}" type="presOf" srcId="{F3EBCFBA-F68D-46BA-86EE-849433EB8910}" destId="{20ED295D-5444-4FB6-8C62-32F43668FD2A}" srcOrd="0" destOrd="0" presId="urn:microsoft.com/office/officeart/2008/layout/CircularPictureCallout"/>
    <dgm:cxn modelId="{D57200E8-E1AD-42EA-953A-136F64B47084}" srcId="{8D763BC5-AE12-4E65-B2A3-1CF78DBB856F}" destId="{6FD654BE-F717-4595-B350-68318810257A}" srcOrd="0" destOrd="0" parTransId="{24A30056-F440-4983-8D09-18E8485734DB}" sibTransId="{F3EBCFBA-F68D-46BA-86EE-849433EB8910}"/>
    <dgm:cxn modelId="{AFF8E48E-B600-44F1-B924-94DE2A9A48F3}" type="presOf" srcId="{6FD654BE-F717-4595-B350-68318810257A}" destId="{AA5B3332-AA74-458E-8B10-5BCDD19B8510}" srcOrd="0" destOrd="0" presId="urn:microsoft.com/office/officeart/2008/layout/CircularPictureCallout"/>
    <dgm:cxn modelId="{BF4697AA-4D24-4AA4-8A01-AC041939B3EF}" type="presOf" srcId="{8D763BC5-AE12-4E65-B2A3-1CF78DBB856F}" destId="{D47FAA42-1630-4CFD-B972-A1308E01E8A2}" srcOrd="0" destOrd="0" presId="urn:microsoft.com/office/officeart/2008/layout/CircularPictureCallout"/>
    <dgm:cxn modelId="{1B32B056-BD96-4BDD-8E87-A12C8D79EDFC}" type="presParOf" srcId="{D47FAA42-1630-4CFD-B972-A1308E01E8A2}" destId="{3423AD57-EE59-466F-8B46-378E3AB73C46}" srcOrd="0" destOrd="0" presId="urn:microsoft.com/office/officeart/2008/layout/CircularPictureCallout"/>
    <dgm:cxn modelId="{CBD2BEAE-831E-4D93-A3E8-1CB68B18FA1B}" type="presParOf" srcId="{3423AD57-EE59-466F-8B46-378E3AB73C46}" destId="{4B8F7384-7D00-4C02-B6F8-146AA591B826}" srcOrd="0" destOrd="0" presId="urn:microsoft.com/office/officeart/2008/layout/CircularPictureCallout"/>
    <dgm:cxn modelId="{0224D995-B82C-4DF5-83FE-220E087F4030}" type="presParOf" srcId="{4B8F7384-7D00-4C02-B6F8-146AA591B826}" destId="{20ED295D-5444-4FB6-8C62-32F43668FD2A}" srcOrd="0" destOrd="0" presId="urn:microsoft.com/office/officeart/2008/layout/CircularPictureCallout"/>
    <dgm:cxn modelId="{6B229949-1414-4093-BA1B-3A625E96730B}" type="presParOf" srcId="{3423AD57-EE59-466F-8B46-378E3AB73C46}" destId="{AA5B3332-AA74-458E-8B10-5BCDD19B8510}" srcOrd="1" destOrd="0" presId="urn:microsoft.com/office/officeart/2008/layout/CircularPictureCallout"/>
  </dgm:cxnLst>
  <dgm:bg/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C8BDB8F-272C-4A80-9D05-BCB5F01299B0}" type="doc">
      <dgm:prSet loTypeId="urn:microsoft.com/office/officeart/2008/layout/CircularPictureCallout" loCatId="picture" qsTypeId="urn:microsoft.com/office/officeart/2005/8/quickstyle/simple1" qsCatId="simple" csTypeId="urn:microsoft.com/office/officeart/2005/8/colors/accent1_2" csCatId="accent1" phldr="1"/>
      <dgm:spPr/>
    </dgm:pt>
    <dgm:pt modelId="{12A4313A-278A-44F3-A465-001AF9324A4B}">
      <dgm:prSet phldrT="[Текст]" phldr="1"/>
      <dgm:spPr/>
      <dgm:t>
        <a:bodyPr/>
        <a:lstStyle/>
        <a:p>
          <a:endParaRPr lang="ru-RU" dirty="0"/>
        </a:p>
      </dgm:t>
    </dgm:pt>
    <dgm:pt modelId="{7A5B4101-A5DB-4B45-A2C7-6540E402F3BD}" type="sibTrans" cxnId="{F94887CC-036B-436C-8B5D-4A147D7296DB}">
      <dgm:prSet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</dgm:spPr>
      <dgm:t>
        <a:bodyPr/>
        <a:lstStyle/>
        <a:p>
          <a:endParaRPr lang="ru-RU"/>
        </a:p>
      </dgm:t>
      <dgm:extLst>
        <a:ext uri="{E40237B7-FDA0-4F09-8148-C483321AD2D9}">
          <dgm14:cNvPr xmlns:dgm14="http://schemas.microsoft.com/office/drawing/2010/diagram" id="0" name="" descr="ÐÐ°ÑÑÐ¸Ð½ÐºÐ¸ Ð¿Ð¾ Ð·Ð°Ð¿ÑÐ¾ÑÑ Ð¼Ð°ÑÑÐµÑ-ÐºÐ»Ð°ÑÑÑ Ð¿ÑÐ¾ÑÐ²ÐµÑÐµÐ½Ð¸Ðµ"/>
        </a:ext>
      </dgm:extLst>
    </dgm:pt>
    <dgm:pt modelId="{8580AD0B-C6C2-4929-B0D6-349EDA211192}" type="parTrans" cxnId="{F94887CC-036B-436C-8B5D-4A147D7296DB}">
      <dgm:prSet/>
      <dgm:spPr/>
      <dgm:t>
        <a:bodyPr/>
        <a:lstStyle/>
        <a:p>
          <a:endParaRPr lang="ru-RU"/>
        </a:p>
      </dgm:t>
    </dgm:pt>
    <dgm:pt modelId="{75013432-6154-45CB-A004-3C445EEEBB72}" type="pres">
      <dgm:prSet presAssocID="{4C8BDB8F-272C-4A80-9D05-BCB5F01299B0}" presName="Name0" presStyleCnt="0">
        <dgm:presLayoutVars>
          <dgm:chMax val="7"/>
          <dgm:chPref val="7"/>
          <dgm:dir/>
        </dgm:presLayoutVars>
      </dgm:prSet>
      <dgm:spPr/>
    </dgm:pt>
    <dgm:pt modelId="{B307C49C-BEFF-4292-A152-E141BBC78BD6}" type="pres">
      <dgm:prSet presAssocID="{4C8BDB8F-272C-4A80-9D05-BCB5F01299B0}" presName="Name1" presStyleCnt="0"/>
      <dgm:spPr/>
    </dgm:pt>
    <dgm:pt modelId="{F215807F-7521-425F-A90B-F8F957A48FD7}" type="pres">
      <dgm:prSet presAssocID="{7A5B4101-A5DB-4B45-A2C7-6540E402F3BD}" presName="picture_1" presStyleCnt="0"/>
      <dgm:spPr/>
    </dgm:pt>
    <dgm:pt modelId="{8B83007E-CCC8-4CC4-970F-0832A9AA7D4D}" type="pres">
      <dgm:prSet presAssocID="{7A5B4101-A5DB-4B45-A2C7-6540E402F3BD}" presName="pictureRepeatNode" presStyleLbl="alignImgPlace1" presStyleIdx="0" presStyleCnt="1" custScaleX="58579" custScaleY="54269" custLinFactNeighborX="-60319" custLinFactNeighborY="12338"/>
      <dgm:spPr/>
      <dgm:t>
        <a:bodyPr/>
        <a:lstStyle/>
        <a:p>
          <a:endParaRPr lang="ru-RU"/>
        </a:p>
      </dgm:t>
    </dgm:pt>
    <dgm:pt modelId="{AEC2799F-18CB-4CEF-9EDB-73E973123556}" type="pres">
      <dgm:prSet presAssocID="{12A4313A-278A-44F3-A465-001AF9324A4B}" presName="text_1" presStyleLbl="node1" presStyleIdx="0" presStyleCnt="0" custScaleX="56398" custScaleY="61590" custLinFactNeighborX="-701" custLinFactNeighborY="1494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A079328-50B2-4FC8-94F7-9C760FDBD785}" type="presOf" srcId="{4C8BDB8F-272C-4A80-9D05-BCB5F01299B0}" destId="{75013432-6154-45CB-A004-3C445EEEBB72}" srcOrd="0" destOrd="0" presId="urn:microsoft.com/office/officeart/2008/layout/CircularPictureCallout"/>
    <dgm:cxn modelId="{F94887CC-036B-436C-8B5D-4A147D7296DB}" srcId="{4C8BDB8F-272C-4A80-9D05-BCB5F01299B0}" destId="{12A4313A-278A-44F3-A465-001AF9324A4B}" srcOrd="0" destOrd="0" parTransId="{8580AD0B-C6C2-4929-B0D6-349EDA211192}" sibTransId="{7A5B4101-A5DB-4B45-A2C7-6540E402F3BD}"/>
    <dgm:cxn modelId="{99E254FE-CD12-42AB-BEBB-A7E85F8607A3}" type="presOf" srcId="{7A5B4101-A5DB-4B45-A2C7-6540E402F3BD}" destId="{8B83007E-CCC8-4CC4-970F-0832A9AA7D4D}" srcOrd="0" destOrd="0" presId="urn:microsoft.com/office/officeart/2008/layout/CircularPictureCallout"/>
    <dgm:cxn modelId="{D35D2251-E9AC-4320-A1B3-4EECD64619CD}" type="presOf" srcId="{12A4313A-278A-44F3-A465-001AF9324A4B}" destId="{AEC2799F-18CB-4CEF-9EDB-73E973123556}" srcOrd="0" destOrd="0" presId="urn:microsoft.com/office/officeart/2008/layout/CircularPictureCallout"/>
    <dgm:cxn modelId="{F0898C1F-845A-41EB-9376-EFC53CFA943A}" type="presParOf" srcId="{75013432-6154-45CB-A004-3C445EEEBB72}" destId="{B307C49C-BEFF-4292-A152-E141BBC78BD6}" srcOrd="0" destOrd="0" presId="urn:microsoft.com/office/officeart/2008/layout/CircularPictureCallout"/>
    <dgm:cxn modelId="{B545FCA3-D8C3-4CB2-A925-7A7507B4B285}" type="presParOf" srcId="{B307C49C-BEFF-4292-A152-E141BBC78BD6}" destId="{F215807F-7521-425F-A90B-F8F957A48FD7}" srcOrd="0" destOrd="0" presId="urn:microsoft.com/office/officeart/2008/layout/CircularPictureCallout"/>
    <dgm:cxn modelId="{8179342F-1DC2-42A4-866C-8EB44563FA94}" type="presParOf" srcId="{F215807F-7521-425F-A90B-F8F957A48FD7}" destId="{8B83007E-CCC8-4CC4-970F-0832A9AA7D4D}" srcOrd="0" destOrd="0" presId="urn:microsoft.com/office/officeart/2008/layout/CircularPictureCallout"/>
    <dgm:cxn modelId="{D0976875-EBAF-4892-8EDD-71FA3AC7D594}" type="presParOf" srcId="{B307C49C-BEFF-4292-A152-E141BBC78BD6}" destId="{AEC2799F-18CB-4CEF-9EDB-73E973123556}" srcOrd="1" destOrd="0" presId="urn:microsoft.com/office/officeart/2008/layout/CircularPictureCallout"/>
  </dgm:cxnLst>
  <dgm:bg/>
  <dgm:whole/>
  <dgm:extLst>
    <a:ext uri="http://schemas.microsoft.com/office/drawing/2008/diagram">
      <dsp:dataModelExt xmlns:dsp="http://schemas.microsoft.com/office/drawing/2008/diagram" relId="rId2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0ED295D-5444-4FB6-8C62-32F43668FD2A}">
      <dsp:nvSpPr>
        <dsp:cNvPr id="0" name=""/>
        <dsp:cNvSpPr/>
      </dsp:nvSpPr>
      <dsp:spPr>
        <a:xfrm>
          <a:off x="1422738" y="658190"/>
          <a:ext cx="2528219" cy="2523845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A5B3332-AA74-458E-8B10-5BCDD19B8510}">
      <dsp:nvSpPr>
        <dsp:cNvPr id="0" name=""/>
        <dsp:cNvSpPr/>
      </dsp:nvSpPr>
      <dsp:spPr>
        <a:xfrm flipH="1">
          <a:off x="0" y="3666555"/>
          <a:ext cx="84096" cy="46304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 dirty="0"/>
        </a:p>
      </dsp:txBody>
      <dsp:txXfrm>
        <a:off x="0" y="3666555"/>
        <a:ext cx="84096" cy="4630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B83007E-CCC8-4CC4-970F-0832A9AA7D4D}">
      <dsp:nvSpPr>
        <dsp:cNvPr id="0" name=""/>
        <dsp:cNvSpPr/>
      </dsp:nvSpPr>
      <dsp:spPr>
        <a:xfrm>
          <a:off x="458370" y="1664777"/>
          <a:ext cx="2583929" cy="2393814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EC2799F-18CB-4CEF-9EDB-73E973123556}">
      <dsp:nvSpPr>
        <dsp:cNvPr id="0" name=""/>
        <dsp:cNvSpPr/>
      </dsp:nvSpPr>
      <dsp:spPr>
        <a:xfrm>
          <a:off x="3595154" y="2951352"/>
          <a:ext cx="1592144" cy="896525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b" anchorCtr="0">
          <a:noAutofit/>
        </a:bodyPr>
        <a:lstStyle/>
        <a:p>
          <a:pPr lvl="0" algn="ctr" defTabSz="2000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4500" kern="1200" dirty="0"/>
        </a:p>
      </dsp:txBody>
      <dsp:txXfrm>
        <a:off x="3595154" y="2951352"/>
        <a:ext cx="1592144" cy="89652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CircularPictureCallout">
  <dgm:title val=""/>
  <dgm:desc val=""/>
  <dgm:catLst>
    <dgm:cat type="picture" pri="2000"/>
    <dgm:cat type="pictureconvert" pri="2000"/>
  </dgm:catLst>
  <dgm:sampData>
    <dgm:dataModel>
      <dgm:ptLst>
        <dgm:pt modelId="0" type="doc"/>
        <dgm:pt modelId="1"/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2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axis="ch" ptType="node" func="cnt" op="lte" val="1">
          <dgm:constrLst>
            <dgm:constr type="h" for="ch" forName="picture_1" refType="h"/>
            <dgm:constr type="w" for="ch" forName="picture_1" refType="h" refFor="ch" refForName="picture_1" op="equ"/>
            <dgm:constr type="l" for="ch" forName="picture_1"/>
            <dgm:constr type="t" for="ch" forName="picture_1"/>
            <dgm:constr type="w" for="ch" forName="text_1" refType="w" refFor="ch" refForName="picture_1" fact="0.64"/>
            <dgm:constr type="h" for="ch" forName="text_1" refType="h" refFor="ch" refForName="picture_1" fact="0.33"/>
            <dgm:constr type="l" for="ch" forName="text_1" refType="w" refFor="ch" refForName="picture_1" fact="0.18"/>
            <dgm:constr type="t" for="ch" forName="text_1" refType="h" refFor="ch" refForName="picture_1" fact="0.531"/>
          </dgm:constrLst>
        </dgm:if>
        <dgm:if name="Name4" axis="ch" ptType="node" func="cnt" op="lte" val="2">
          <dgm:choose name="Name5">
            <dgm:if name="Name6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5"/>
                <dgm:constr type="h" for="ch" forName="picture_2" refType="h" refFor="ch" refForName="picture_1" fact="0.5"/>
                <dgm:constr type="l" for="ch" forName="picture_2" refType="w" refFor="ch" refForName="picture_1" fact="1.21"/>
                <dgm:constr type="ctrY" for="ch" forName="picture_2" refType="h" refFor="ch" refForName="picture_1" fact="0.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</dgm:constrLst>
            </dgm:if>
            <dgm:else name="Name7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5"/>
                <dgm:constr type="h" for="ch" forName="picture_2" refType="h" refFor="ch" refForName="picture_1" fact="0.5"/>
                <dgm:constr type="r" for="ch" forName="picture_2" refType="w"/>
                <dgm:constr type="rOff" for="ch" forName="picture_2" refType="w" refFor="ch" refForName="picture_1" fact="-1.21"/>
                <dgm:constr type="ctrY" for="ch" forName="picture_2" refType="h" refFor="ch" refForName="picture_1" fact="0.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</dgm:constrLst>
            </dgm:else>
          </dgm:choose>
        </dgm:if>
        <dgm:if name="Name8" axis="ch" ptType="node" func="cnt" op="lte" val="3">
          <dgm:choose name="Name9">
            <dgm:if name="Name10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75"/>
                <dgm:constr type="h" for="ch" forName="picture_2" refType="h" refFor="ch" refForName="picture_1" fact="0.375"/>
                <dgm:constr type="l" for="ch" forName="picture_2" refType="w" refFor="ch" refForName="picture_1" fact="1.21"/>
                <dgm:constr type="ctrY" for="ch" forName="picture_2" refType="h" refFor="ch" refForName="picture_1" fact="0.187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75"/>
                <dgm:constr type="h" for="ch" forName="picture_3" refType="h" refFor="ch" refForName="picture_1" fact="0.375"/>
                <dgm:constr type="l" for="ch" forName="picture_3" refType="w" refFor="ch" refForName="picture_1" fact="1.21"/>
                <dgm:constr type="ctrY" for="ch" forName="picture_3" refType="h" refFor="ch" refForName="picture_1" fact="0.8125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</dgm:constrLst>
            </dgm:if>
            <dgm:else name="Name11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75"/>
                <dgm:constr type="h" for="ch" forName="picture_2" refType="h" refFor="ch" refForName="picture_1" fact="0.375"/>
                <dgm:constr type="r" for="ch" forName="picture_2" refType="w"/>
                <dgm:constr type="rOff" for="ch" forName="picture_2" refType="w" refFor="ch" refForName="picture_1" fact="-1.21"/>
                <dgm:constr type="ctrY" for="ch" forName="picture_2" refType="h" refFor="ch" refForName="picture_1" fact="0.187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75"/>
                <dgm:constr type="h" for="ch" forName="picture_3" refType="h" refFor="ch" refForName="picture_1" fact="0.375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8125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</dgm:constrLst>
            </dgm:else>
          </dgm:choose>
        </dgm:if>
        <dgm:if name="Name12" axis="ch" ptType="node" func="cnt" op="lte" val="4">
          <dgm:choose name="Name13">
            <dgm:if name="Name14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"/>
                <dgm:constr type="h" for="ch" forName="picture_2" refType="h" refFor="ch" refForName="picture_1" fact="0.3"/>
                <dgm:constr type="l" for="ch" forName="picture_2" refType="w" refFor="ch" refForName="picture_1" fact="1.354"/>
                <dgm:constr type="ctrY" for="ch" forName="picture_2" refType="h" refFor="ch" refForName="picture_1" fact="0.1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"/>
                <dgm:constr type="h" for="ch" forName="picture_3" refType="h" refFor="ch" refForName="picture_1" fact="0.3"/>
                <dgm:constr type="l" for="ch" forName="picture_3" refType="w" refFor="ch" refForName="picture_1" fact="1.21"/>
                <dgm:constr type="ctrY" for="ch" forName="picture_3" refType="h" refFor="ch" refForName="picture_1" fact="0.5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3"/>
                <dgm:constr type="h" for="ch" forName="picture_4" refType="h" refFor="ch" refForName="picture_1" fact="0.3"/>
                <dgm:constr type="l" for="ch" forName="picture_4" refType="w" refFor="ch" refForName="picture_1" fact="1.354"/>
                <dgm:constr type="ctrY" for="ch" forName="picture_4" refType="h" refFor="ch" refForName="picture_1" fact="0.8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</dgm:constrLst>
            </dgm:if>
            <dgm:else name="Name15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"/>
                <dgm:constr type="h" for="ch" forName="picture_2" refType="h" refFor="ch" refForName="picture_1" fact="0.3"/>
                <dgm:constr type="r" for="ch" forName="picture_2" refType="w"/>
                <dgm:constr type="rOff" for="ch" forName="picture_2" refType="w" refFor="ch" refForName="picture_1" fact="-1.354"/>
                <dgm:constr type="ctrY" for="ch" forName="picture_2" refType="h" refFor="ch" refForName="picture_1" fact="0.1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"/>
                <dgm:constr type="h" for="ch" forName="picture_3" refType="h" refFor="ch" refForName="picture_1" fact="0.3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5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3"/>
                <dgm:constr type="h" for="ch" forName="picture_4" refType="h" refFor="ch" refForName="picture_1" fact="0.3"/>
                <dgm:constr type="r" for="ch" forName="picture_4" refType="w"/>
                <dgm:constr type="rOff" for="ch" forName="picture_4" refType="w" refFor="ch" refForName="picture_1" fact="-1.354"/>
                <dgm:constr type="ctrY" for="ch" forName="picture_4" refType="h" refFor="ch" refForName="picture_1" fact="0.8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</dgm:constrLst>
            </dgm:else>
          </dgm:choose>
        </dgm:if>
        <dgm:if name="Name16" axis="ch" ptType="node" func="cnt" op="lte" val="5">
          <dgm:choose name="Name17">
            <dgm:if name="Name18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22"/>
                <dgm:constr type="h" for="ch" forName="picture_2" refType="h" refFor="ch" refForName="picture_1" fact="0.22"/>
                <dgm:constr type="l" for="ch" forName="picture_2" refType="w" refFor="ch" refForName="picture_1" fact="1.375"/>
                <dgm:constr type="ctrY" for="ch" forName="picture_2" refType="h" refFor="ch" refForName="picture_1" fact="0.11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22"/>
                <dgm:constr type="h" for="ch" forName="picture_3" refType="h" refFor="ch" refForName="picture_1" fact="0.22"/>
                <dgm:constr type="l" for="ch" forName="picture_3" refType="w" refFor="ch" refForName="picture_1" fact="1.21"/>
                <dgm:constr type="ctrY" for="ch" forName="picture_3" refType="h" refFor="ch" refForName="picture_1" fact="0.353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22"/>
                <dgm:constr type="h" for="ch" forName="picture_4" refType="h" refFor="ch" refForName="picture_1" fact="0.22"/>
                <dgm:constr type="l" for="ch" forName="picture_4" refType="w" refFor="ch" refForName="picture_1" fact="1.21"/>
                <dgm:constr type="ctrY" for="ch" forName="picture_4" refType="h" refFor="ch" refForName="picture_1" fact="0.647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22"/>
                <dgm:constr type="h" for="ch" forName="picture_5" refType="h" refFor="ch" refForName="picture_1" fact="0.22"/>
                <dgm:constr type="l" for="ch" forName="picture_5" refType="w" refFor="ch" refForName="picture_1" fact="1.375"/>
                <dgm:constr type="ctrY" for="ch" forName="picture_5" refType="h" refFor="ch" refForName="picture_1" fact="0.89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</dgm:constrLst>
            </dgm:if>
            <dgm:else name="Name19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22"/>
                <dgm:constr type="h" for="ch" forName="picture_2" refType="h" refFor="ch" refForName="picture_1" fact="0.22"/>
                <dgm:constr type="r" for="ch" forName="picture_2" refType="w"/>
                <dgm:constr type="rOff" for="ch" forName="picture_2" refType="w" refFor="ch" refForName="picture_1" fact="-1.375"/>
                <dgm:constr type="ctrY" for="ch" forName="picture_2" refType="h" refFor="ch" refForName="picture_1" fact="0.11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22"/>
                <dgm:constr type="h" for="ch" forName="picture_3" refType="h" refFor="ch" refForName="picture_1" fact="0.22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353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22"/>
                <dgm:constr type="h" for="ch" forName="picture_4" refType="h" refFor="ch" refForName="picture_1" fact="0.22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647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22"/>
                <dgm:constr type="h" for="ch" forName="picture_5" refType="h" refFor="ch" refForName="picture_1" fact="0.22"/>
                <dgm:constr type="r" for="ch" forName="picture_5" refType="w"/>
                <dgm:constr type="rOff" for="ch" forName="picture_5" refType="w" refFor="ch" refForName="picture_1" fact="-1.375"/>
                <dgm:constr type="ctrY" for="ch" forName="picture_5" refType="h" refFor="ch" refForName="picture_1" fact="0.89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</dgm:constrLst>
            </dgm:else>
          </dgm:choose>
        </dgm:if>
        <dgm:if name="Name20" axis="ch" ptType="node" func="cnt" op="lte" val="6">
          <dgm:choose name="Name21">
            <dgm:if name="Name22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8"/>
                <dgm:constr type="h" for="ch" forName="picture_2" refType="h" refFor="ch" refForName="picture_1" fact="0.18"/>
                <dgm:constr type="l" for="ch" forName="picture_2" refType="w" refFor="ch" refForName="picture_1" fact="1.4238"/>
                <dgm:constr type="ctrY" for="ch" forName="picture_2" refType="h" refFor="ch" refForName="picture_1" fact="0.09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8"/>
                <dgm:constr type="h" for="ch" forName="picture_3" refType="h" refFor="ch" refForName="picture_1" fact="0.18"/>
                <dgm:constr type="l" for="ch" forName="picture_3" refType="w" refFor="ch" refForName="picture_1" fact="1.2667"/>
                <dgm:constr type="ctrY" for="ch" forName="picture_3" refType="h" refFor="ch" refForName="picture_1" fact="0.261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8"/>
                <dgm:constr type="h" for="ch" forName="picture_4" refType="h" refFor="ch" refForName="picture_1" fact="0.18"/>
                <dgm:constr type="l" for="ch" forName="picture_4" refType="w" refFor="ch" refForName="picture_1" fact="1.21"/>
                <dgm:constr type="ctrY" for="ch" forName="picture_4" refType="h" refFor="ch" refForName="picture_1" fact="0.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8"/>
                <dgm:constr type="h" for="ch" forName="picture_5" refType="h" refFor="ch" refForName="picture_1" fact="0.18"/>
                <dgm:constr type="l" for="ch" forName="picture_5" refType="w" refFor="ch" refForName="picture_1" fact="1.2667"/>
                <dgm:constr type="ctrY" for="ch" forName="picture_5" refType="h" refFor="ch" refForName="picture_1" fact="0.739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8"/>
                <dgm:constr type="h" for="ch" forName="picture_6" refType="h" refFor="ch" refForName="picture_1" fact="0.18"/>
                <dgm:constr type="l" for="ch" forName="picture_6" refType="w" refFor="ch" refForName="picture_1" fact="1.4238"/>
                <dgm:constr type="ctrY" for="ch" forName="picture_6" refType="h" refFor="ch" refForName="picture_1" fact="0.91"/>
                <dgm:constr type="l" for="ch" forName="line_6" refType="ctrX" refFor="ch" refForName="picture_1"/>
                <dgm:constr type="h" for="ch" forName="line_6"/>
                <dgm:constr type="r" for="ch" forName="line_6" refType="ctrX" refFor="ch" refForName="picture_6"/>
                <dgm:constr type="ctrY" for="ch" forName="line_6" refType="ctrY" refFor="ch" refForName="picture_6"/>
                <dgm:constr type="r" for="ch" forName="textparent_6" refType="w"/>
                <dgm:constr type="h" for="ch" forName="textparent_6" refType="h" refFor="ch" refForName="picture_6"/>
                <dgm:constr type="l" for="ch" forName="textparent_6" refType="r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</dgm:constrLst>
            </dgm:if>
            <dgm:else name="Name23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8"/>
                <dgm:constr type="h" for="ch" forName="picture_2" refType="h" refFor="ch" refForName="picture_1" fact="0.18"/>
                <dgm:constr type="r" for="ch" forName="picture_2" refType="w"/>
                <dgm:constr type="rOff" for="ch" forName="picture_2" refType="w" refFor="ch" refForName="picture_1" fact="-1.4238"/>
                <dgm:constr type="ctrY" for="ch" forName="picture_2" refType="h" refFor="ch" refForName="picture_1" fact="0.09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8"/>
                <dgm:constr type="h" for="ch" forName="picture_3" refType="h" refFor="ch" refForName="picture_1" fact="0.18"/>
                <dgm:constr type="r" for="ch" forName="picture_3" refType="w"/>
                <dgm:constr type="rOff" for="ch" forName="picture_3" refType="w" refFor="ch" refForName="picture_1" fact="-1.2667"/>
                <dgm:constr type="ctrY" for="ch" forName="picture_3" refType="h" refFor="ch" refForName="picture_1" fact="0.261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8"/>
                <dgm:constr type="h" for="ch" forName="picture_4" refType="h" refFor="ch" refForName="picture_1" fact="0.18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8"/>
                <dgm:constr type="h" for="ch" forName="picture_5" refType="h" refFor="ch" refForName="picture_1" fact="0.18"/>
                <dgm:constr type="r" for="ch" forName="picture_5" refType="w"/>
                <dgm:constr type="rOff" for="ch" forName="picture_5" refType="w" refFor="ch" refForName="picture_1" fact="-1.2667"/>
                <dgm:constr type="ctrY" for="ch" forName="picture_5" refType="h" refFor="ch" refForName="picture_1" fact="0.739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8"/>
                <dgm:constr type="h" for="ch" forName="picture_6" refType="h" refFor="ch" refForName="picture_1" fact="0.18"/>
                <dgm:constr type="r" for="ch" forName="picture_6" refType="w"/>
                <dgm:constr type="rOff" for="ch" forName="picture_6" refType="w" refFor="ch" refForName="picture_1" fact="-1.4238"/>
                <dgm:constr type="ctrY" for="ch" forName="picture_6" refType="h" refFor="ch" refForName="picture_1" fact="0.91"/>
                <dgm:constr type="r" for="ch" forName="line_6" refType="ctrX" refFor="ch" refForName="picture_1"/>
                <dgm:constr type="h" for="ch" forName="line_6"/>
                <dgm:constr type="l" for="ch" forName="line_6" refType="ctrX" refFor="ch" refForName="picture_6"/>
                <dgm:constr type="ctrY" for="ch" forName="line_6" refType="ctrY" refFor="ch" refForName="picture_6"/>
                <dgm:constr type="l" for="ch" forName="textparent_6"/>
                <dgm:constr type="h" for="ch" forName="textparent_6" refType="h" refFor="ch" refForName="picture_6"/>
                <dgm:constr type="r" for="ch" forName="textparent_6" refType="l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</dgm:constrLst>
            </dgm:else>
          </dgm:choose>
        </dgm:if>
        <dgm:else name="Name24">
          <dgm:choose name="Name25">
            <dgm:if name="Name26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5"/>
                <dgm:constr type="h" for="ch" forName="picture_2" refType="h" refFor="ch" refForName="picture_1" fact="0.15"/>
                <dgm:constr type="l" for="ch" forName="picture_2" refType="w" refFor="ch" refForName="picture_1" fact="1.4363"/>
                <dgm:constr type="ctrY" for="ch" forName="picture_2" refType="h" refFor="ch" refForName="picture_1" fact="0.07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5"/>
                <dgm:constr type="h" for="ch" forName="picture_3" refType="h" refFor="ch" refForName="picture_1" fact="0.15"/>
                <dgm:constr type="l" for="ch" forName="picture_3" refType="w" refFor="ch" refForName="picture_1" fact="1.2898"/>
                <dgm:constr type="ctrY" for="ch" forName="picture_3" refType="h" refFor="ch" refForName="picture_1" fact="0.227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5"/>
                <dgm:constr type="h" for="ch" forName="picture_4" refType="h" refFor="ch" refForName="picture_1" fact="0.15"/>
                <dgm:constr type="l" for="ch" forName="picture_4" refType="w" refFor="ch" refForName="picture_1" fact="1.21"/>
                <dgm:constr type="ctrY" for="ch" forName="picture_4" refType="h" refFor="ch" refForName="picture_1" fact="0.40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5"/>
                <dgm:constr type="h" for="ch" forName="picture_5" refType="h" refFor="ch" refForName="picture_1" fact="0.15"/>
                <dgm:constr type="l" for="ch" forName="picture_5" refType="w" refFor="ch" refForName="picture_1" fact="1.21"/>
                <dgm:constr type="ctrY" for="ch" forName="picture_5" refType="h" refFor="ch" refForName="picture_1" fact="0.595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5"/>
                <dgm:constr type="h" for="ch" forName="picture_6" refType="h" refFor="ch" refForName="picture_1" fact="0.15"/>
                <dgm:constr type="l" for="ch" forName="picture_6" refType="w" refFor="ch" refForName="picture_1" fact="1.2898"/>
                <dgm:constr type="ctrY" for="ch" forName="picture_6" refType="h" refFor="ch" refForName="picture_1" fact="0.773"/>
                <dgm:constr type="l" for="ch" forName="line_6" refType="ctrX" refFor="ch" refForName="picture_1"/>
                <dgm:constr type="h" for="ch" forName="line_6"/>
                <dgm:constr type="r" for="ch" forName="line_6" refType="ctrX" refFor="ch" refForName="picture_6"/>
                <dgm:constr type="ctrY" for="ch" forName="line_6" refType="ctrY" refFor="ch" refForName="picture_6"/>
                <dgm:constr type="r" for="ch" forName="textparent_6" refType="w"/>
                <dgm:constr type="h" for="ch" forName="textparent_6" refType="h" refFor="ch" refForName="picture_6"/>
                <dgm:constr type="l" for="ch" forName="textparent_6" refType="r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  <dgm:constr type="w" for="ch" forName="picture_7" refType="w" refFor="ch" refForName="picture_1" fact="0.15"/>
                <dgm:constr type="h" for="ch" forName="picture_7" refType="h" refFor="ch" refForName="picture_1" fact="0.15"/>
                <dgm:constr type="l" for="ch" forName="picture_7" refType="w" refFor="ch" refForName="picture_1" fact="1.4363"/>
                <dgm:constr type="ctrY" for="ch" forName="picture_7" refType="h" refFor="ch" refForName="picture_1" fact="0.925"/>
                <dgm:constr type="l" for="ch" forName="line_7" refType="ctrX" refFor="ch" refForName="picture_1"/>
                <dgm:constr type="h" for="ch" forName="line_7"/>
                <dgm:constr type="r" for="ch" forName="line_7" refType="ctrX" refFor="ch" refForName="picture_7"/>
                <dgm:constr type="ctrY" for="ch" forName="line_7" refType="ctrY" refFor="ch" refForName="picture_7"/>
                <dgm:constr type="r" for="ch" forName="textparent_7" refType="w"/>
                <dgm:constr type="h" for="ch" forName="textparent_7" refType="h" refFor="ch" refForName="picture_7"/>
                <dgm:constr type="l" for="ch" forName="textparent_7" refType="r" refFor="ch" refForName="picture_7"/>
                <dgm:constr type="ctrY" for="ch" forName="textparent_7" refType="ctrY" refFor="ch" refForName="picture_7"/>
                <dgm:constr type="primFontSz" for="des" forName="text_7" refType="primFontSz" refFor="des" refForName="text_2" op="equ"/>
              </dgm:constrLst>
            </dgm:if>
            <dgm:else name="Name27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5"/>
                <dgm:constr type="h" for="ch" forName="picture_2" refType="h" refFor="ch" refForName="picture_1" fact="0.15"/>
                <dgm:constr type="r" for="ch" forName="picture_2" refType="w"/>
                <dgm:constr type="rOff" for="ch" forName="picture_2" refType="w" refFor="ch" refForName="picture_1" fact="-1.4363"/>
                <dgm:constr type="ctrY" for="ch" forName="picture_2" refType="h" refFor="ch" refForName="picture_1" fact="0.07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5"/>
                <dgm:constr type="h" for="ch" forName="picture_3" refType="h" refFor="ch" refForName="picture_1" fact="0.15"/>
                <dgm:constr type="r" for="ch" forName="picture_3" refType="w"/>
                <dgm:constr type="rOff" for="ch" forName="picture_3" refType="w" refFor="ch" refForName="picture_1" fact="-1.2898"/>
                <dgm:constr type="ctrY" for="ch" forName="picture_3" refType="h" refFor="ch" refForName="picture_1" fact="0.227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5"/>
                <dgm:constr type="h" for="ch" forName="picture_4" refType="h" refFor="ch" refForName="picture_1" fact="0.15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40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5"/>
                <dgm:constr type="h" for="ch" forName="picture_5" refType="h" refFor="ch" refForName="picture_1" fact="0.15"/>
                <dgm:constr type="r" for="ch" forName="picture_5" refType="w"/>
                <dgm:constr type="rOff" for="ch" forName="picture_5" refType="w" refFor="ch" refForName="picture_1" fact="-1.21"/>
                <dgm:constr type="ctrY" for="ch" forName="picture_5" refType="h" refFor="ch" refForName="picture_1" fact="0.595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5"/>
                <dgm:constr type="h" for="ch" forName="picture_6" refType="h" refFor="ch" refForName="picture_1" fact="0.15"/>
                <dgm:constr type="r" for="ch" forName="picture_6" refType="w"/>
                <dgm:constr type="rOff" for="ch" forName="picture_6" refType="w" refFor="ch" refForName="picture_1" fact="-1.2898"/>
                <dgm:constr type="ctrY" for="ch" forName="picture_6" refType="h" refFor="ch" refForName="picture_1" fact="0.773"/>
                <dgm:constr type="r" for="ch" forName="line_6" refType="ctrX" refFor="ch" refForName="picture_1"/>
                <dgm:constr type="h" for="ch" forName="line_6"/>
                <dgm:constr type="l" for="ch" forName="line_6" refType="ctrX" refFor="ch" refForName="picture_6"/>
                <dgm:constr type="ctrY" for="ch" forName="line_6" refType="ctrY" refFor="ch" refForName="picture_6"/>
                <dgm:constr type="l" for="ch" forName="textparent_6"/>
                <dgm:constr type="h" for="ch" forName="textparent_6" refType="h" refFor="ch" refForName="picture_6"/>
                <dgm:constr type="r" for="ch" forName="textparent_6" refType="l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  <dgm:constr type="w" for="ch" forName="picture_7" refType="w" refFor="ch" refForName="picture_1" fact="0.15"/>
                <dgm:constr type="h" for="ch" forName="picture_7" refType="h" refFor="ch" refForName="picture_1" fact="0.15"/>
                <dgm:constr type="r" for="ch" forName="picture_7" refType="w"/>
                <dgm:constr type="rOff" for="ch" forName="picture_7" refType="w" refFor="ch" refForName="picture_1" fact="-1.4363"/>
                <dgm:constr type="ctrY" for="ch" forName="picture_7" refType="h" refFor="ch" refForName="picture_1" fact="0.925"/>
                <dgm:constr type="r" for="ch" forName="line_7" refType="ctrX" refFor="ch" refForName="picture_1"/>
                <dgm:constr type="h" for="ch" forName="line_7"/>
                <dgm:constr type="l" for="ch" forName="line_7" refType="ctrX" refFor="ch" refForName="picture_7"/>
                <dgm:constr type="ctrY" for="ch" forName="line_7" refType="ctrY" refFor="ch" refForName="picture_7"/>
                <dgm:constr type="l" for="ch" forName="textparent_7"/>
                <dgm:constr type="h" for="ch" forName="textparent_7" refType="h" refFor="ch" refForName="picture_7"/>
                <dgm:constr type="r" for="ch" forName="textparent_7" refType="l" refFor="ch" refForName="picture_7"/>
                <dgm:constr type="ctrY" for="ch" forName="textparent_7" refType="ctrY" refFor="ch" refForName="picture_7"/>
                <dgm:constr type="primFontSz" for="des" forName="text_7" refType="primFontSz" refFor="des" refForName="text_2" op="equ"/>
              </dgm:constrLst>
            </dgm:else>
          </dgm:choose>
        </dgm:else>
      </dgm:choose>
      <dgm:forEach name="wrapper" axis="self" ptType="parTrans">
        <dgm:forEach name="wrapper2" axis="self" ptType="sibTrans" st="2">
          <dgm:forEach name="pictureRepeat" axis="self">
            <dgm:layoutNode name="pictureRepeatNode" styleLbl="alignImgPlace1">
              <dgm:alg type="sp"/>
              <dgm:shape xmlns:r="http://schemas.openxmlformats.org/officeDocument/2006/relationships" type="ellipse" r:blip="" blipPhldr="1">
                <dgm:adjLst/>
              </dgm:shape>
              <dgm:presOf axis="self"/>
            </dgm:layoutNode>
          </dgm:forEach>
        </dgm:forEach>
      </dgm:forEach>
      <dgm:forEach name="Name28" axis="ch" ptType="sibTrans" hideLastTrans="0" cnt="1">
        <dgm:layoutNode name="picture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9" ref="pictureRepeat"/>
        </dgm:layoutNode>
      </dgm:forEach>
      <dgm:forEach name="Name30" axis="ch" ptType="node" cnt="1">
        <dgm:layoutNode name="text_1" styleLbl="node1">
          <dgm:varLst>
            <dgm:bulletEnabled val="1"/>
          </dgm:varLst>
          <dgm:alg type="tx">
            <dgm:param type="txAnchorVert" val="b"/>
            <dgm:param type="txAnchorVertCh" val="b"/>
            <dgm:param type="parTxRTLAlign" val="r"/>
            <dgm:param type="shpTxRTLAlignCh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primFontSz" val="65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</dgm:forEach>
      <dgm:forEach name="Name31" axis="ch" ptType="sibTrans" hideLastTrans="0" st="2" cnt="1">
        <dgm:layoutNode name="picture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2" ref="pictureRepeat"/>
        </dgm:layoutNode>
      </dgm:forEach>
      <dgm:forEach name="Name33" axis="ch" ptType="node" st="2" cnt="1">
        <dgm:layoutNode name="line_2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2">
          <dgm:choose name="Name34">
            <dgm:if name="Name35" func="var" arg="dir" op="equ" val="norm">
              <dgm:alg type="lin">
                <dgm:param type="horzAlign" val="l"/>
              </dgm:alg>
            </dgm:if>
            <dgm:else name="Name36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2" refType="w"/>
            <dgm:constr type="h" for="ch" forName="text_2" refType="h"/>
          </dgm:constrLst>
          <dgm:presOf/>
          <dgm:layoutNode name="text_2" styleLbl="revTx">
            <dgm:varLst>
              <dgm:bulletEnabled val="1"/>
            </dgm:varLst>
            <dgm:choose name="Name37">
              <dgm:if name="Name38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39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40" axis="ch" ptType="sibTrans" hideLastTrans="0" st="3" cnt="1">
        <dgm:layoutNode name="picture_3">
          <dgm:alg type="sp"/>
          <dgm:shape xmlns:r="http://schemas.openxmlformats.org/officeDocument/2006/relationships" r:blip="">
            <dgm:adjLst/>
          </dgm:shape>
          <dgm:presOf/>
          <dgm:constrLst/>
          <dgm:forEach name="Name41" ref="pictureRepeat"/>
        </dgm:layoutNode>
      </dgm:forEach>
      <dgm:forEach name="Name42" axis="ch" ptType="node" st="3" cnt="1">
        <dgm:layoutNode name="line_3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3">
          <dgm:choose name="Name43">
            <dgm:if name="Name44" func="var" arg="dir" op="equ" val="norm">
              <dgm:alg type="lin">
                <dgm:param type="horzAlign" val="l"/>
              </dgm:alg>
            </dgm:if>
            <dgm:else name="Name45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3" refType="w"/>
            <dgm:constr type="h" for="ch" forName="text_3" refType="h"/>
          </dgm:constrLst>
          <dgm:presOf/>
          <dgm:layoutNode name="text_3" styleLbl="revTx">
            <dgm:varLst>
              <dgm:bulletEnabled val="1"/>
            </dgm:varLst>
            <dgm:choose name="Name46">
              <dgm:if name="Name47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48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49" axis="ch" ptType="sibTrans" hideLastTrans="0" st="4" cnt="1">
        <dgm:layoutNode name="picture_4">
          <dgm:alg type="sp"/>
          <dgm:shape xmlns:r="http://schemas.openxmlformats.org/officeDocument/2006/relationships" r:blip="">
            <dgm:adjLst/>
          </dgm:shape>
          <dgm:presOf/>
          <dgm:constrLst/>
          <dgm:forEach name="Name50" ref="pictureRepeat"/>
        </dgm:layoutNode>
      </dgm:forEach>
      <dgm:forEach name="Name51" axis="ch" ptType="node" st="4" cnt="1">
        <dgm:layoutNode name="line_4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4">
          <dgm:choose name="Name52">
            <dgm:if name="Name53" func="var" arg="dir" op="equ" val="norm">
              <dgm:alg type="lin">
                <dgm:param type="horzAlign" val="l"/>
              </dgm:alg>
            </dgm:if>
            <dgm:else name="Name54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4" refType="w"/>
            <dgm:constr type="h" for="ch" forName="text_4" refType="h"/>
          </dgm:constrLst>
          <dgm:presOf/>
          <dgm:layoutNode name="text_4" styleLbl="revTx">
            <dgm:varLst>
              <dgm:bulletEnabled val="1"/>
            </dgm:varLst>
            <dgm:choose name="Name55">
              <dgm:if name="Name56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57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58" axis="ch" ptType="sibTrans" hideLastTrans="0" st="5" cnt="1">
        <dgm:layoutNode name="picture_5">
          <dgm:alg type="sp"/>
          <dgm:shape xmlns:r="http://schemas.openxmlformats.org/officeDocument/2006/relationships" r:blip="">
            <dgm:adjLst/>
          </dgm:shape>
          <dgm:presOf/>
          <dgm:constrLst/>
          <dgm:forEach name="Name59" ref="pictureRepeat"/>
        </dgm:layoutNode>
      </dgm:forEach>
      <dgm:forEach name="Name60" axis="ch" ptType="node" st="5" cnt="1">
        <dgm:layoutNode name="line_5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5">
          <dgm:choose name="Name61">
            <dgm:if name="Name62" func="var" arg="dir" op="equ" val="norm">
              <dgm:alg type="lin">
                <dgm:param type="horzAlign" val="l"/>
              </dgm:alg>
            </dgm:if>
            <dgm:else name="Name63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5" refType="w"/>
            <dgm:constr type="h" for="ch" forName="text_5" refType="h"/>
          </dgm:constrLst>
          <dgm:presOf/>
          <dgm:layoutNode name="text_5" styleLbl="revTx">
            <dgm:varLst>
              <dgm:bulletEnabled val="1"/>
            </dgm:varLst>
            <dgm:choose name="Name64">
              <dgm:if name="Name65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66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67" axis="ch" ptType="sibTrans" hideLastTrans="0" st="6" cnt="1">
        <dgm:layoutNode name="picture_6">
          <dgm:alg type="sp"/>
          <dgm:shape xmlns:r="http://schemas.openxmlformats.org/officeDocument/2006/relationships" r:blip="">
            <dgm:adjLst/>
          </dgm:shape>
          <dgm:presOf/>
          <dgm:constrLst/>
          <dgm:forEach name="Name68" ref="pictureRepeat"/>
        </dgm:layoutNode>
      </dgm:forEach>
      <dgm:forEach name="Name69" axis="ch" ptType="node" st="6" cnt="1">
        <dgm:layoutNode name="line_6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6">
          <dgm:choose name="Name70">
            <dgm:if name="Name71" func="var" arg="dir" op="equ" val="norm">
              <dgm:alg type="lin">
                <dgm:param type="horzAlign" val="l"/>
              </dgm:alg>
            </dgm:if>
            <dgm:else name="Name72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6" refType="w"/>
            <dgm:constr type="h" for="ch" forName="text_6" refType="h"/>
          </dgm:constrLst>
          <dgm:presOf/>
          <dgm:layoutNode name="text_6" styleLbl="revTx">
            <dgm:varLst>
              <dgm:bulletEnabled val="1"/>
            </dgm:varLst>
            <dgm:choose name="Name73">
              <dgm:if name="Name74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75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76" axis="ch" ptType="sibTrans" hideLastTrans="0" st="7" cnt="1">
        <dgm:layoutNode name="picture_7">
          <dgm:alg type="sp"/>
          <dgm:shape xmlns:r="http://schemas.openxmlformats.org/officeDocument/2006/relationships" r:blip="">
            <dgm:adjLst/>
          </dgm:shape>
          <dgm:presOf/>
          <dgm:constrLst/>
          <dgm:forEach name="Name77" ref="pictureRepeat"/>
        </dgm:layoutNode>
      </dgm:forEach>
      <dgm:forEach name="Name78" axis="ch" ptType="node" st="7" cnt="1">
        <dgm:layoutNode name="line_7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7">
          <dgm:choose name="Name79">
            <dgm:if name="Name80" func="var" arg="dir" op="equ" val="norm">
              <dgm:alg type="lin">
                <dgm:param type="horzAlign" val="l"/>
              </dgm:alg>
            </dgm:if>
            <dgm:else name="Name81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7" refType="w"/>
            <dgm:constr type="h" for="ch" forName="text_7" refType="h"/>
          </dgm:constrLst>
          <dgm:presOf/>
          <dgm:layoutNode name="text_7" styleLbl="revTx">
            <dgm:varLst>
              <dgm:bulletEnabled val="1"/>
            </dgm:varLst>
            <dgm:choose name="Name82">
              <dgm:if name="Name83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84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CircularPictureCallout">
  <dgm:title val=""/>
  <dgm:desc val=""/>
  <dgm:catLst>
    <dgm:cat type="picture" pri="2000"/>
    <dgm:cat type="pictureconvert" pri="2000"/>
  </dgm:catLst>
  <dgm:sampData>
    <dgm:dataModel>
      <dgm:ptLst>
        <dgm:pt modelId="0" type="doc"/>
        <dgm:pt modelId="1"/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2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axis="ch" ptType="node" func="cnt" op="lte" val="1">
          <dgm:constrLst>
            <dgm:constr type="h" for="ch" forName="picture_1" refType="h"/>
            <dgm:constr type="w" for="ch" forName="picture_1" refType="h" refFor="ch" refForName="picture_1" op="equ"/>
            <dgm:constr type="l" for="ch" forName="picture_1"/>
            <dgm:constr type="t" for="ch" forName="picture_1"/>
            <dgm:constr type="w" for="ch" forName="text_1" refType="w" refFor="ch" refForName="picture_1" fact="0.64"/>
            <dgm:constr type="h" for="ch" forName="text_1" refType="h" refFor="ch" refForName="picture_1" fact="0.33"/>
            <dgm:constr type="l" for="ch" forName="text_1" refType="w" refFor="ch" refForName="picture_1" fact="0.18"/>
            <dgm:constr type="t" for="ch" forName="text_1" refType="h" refFor="ch" refForName="picture_1" fact="0.531"/>
          </dgm:constrLst>
        </dgm:if>
        <dgm:if name="Name4" axis="ch" ptType="node" func="cnt" op="lte" val="2">
          <dgm:choose name="Name5">
            <dgm:if name="Name6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5"/>
                <dgm:constr type="h" for="ch" forName="picture_2" refType="h" refFor="ch" refForName="picture_1" fact="0.5"/>
                <dgm:constr type="l" for="ch" forName="picture_2" refType="w" refFor="ch" refForName="picture_1" fact="1.21"/>
                <dgm:constr type="ctrY" for="ch" forName="picture_2" refType="h" refFor="ch" refForName="picture_1" fact="0.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</dgm:constrLst>
            </dgm:if>
            <dgm:else name="Name7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5"/>
                <dgm:constr type="h" for="ch" forName="picture_2" refType="h" refFor="ch" refForName="picture_1" fact="0.5"/>
                <dgm:constr type="r" for="ch" forName="picture_2" refType="w"/>
                <dgm:constr type="rOff" for="ch" forName="picture_2" refType="w" refFor="ch" refForName="picture_1" fact="-1.21"/>
                <dgm:constr type="ctrY" for="ch" forName="picture_2" refType="h" refFor="ch" refForName="picture_1" fact="0.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</dgm:constrLst>
            </dgm:else>
          </dgm:choose>
        </dgm:if>
        <dgm:if name="Name8" axis="ch" ptType="node" func="cnt" op="lte" val="3">
          <dgm:choose name="Name9">
            <dgm:if name="Name10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75"/>
                <dgm:constr type="h" for="ch" forName="picture_2" refType="h" refFor="ch" refForName="picture_1" fact="0.375"/>
                <dgm:constr type="l" for="ch" forName="picture_2" refType="w" refFor="ch" refForName="picture_1" fact="1.21"/>
                <dgm:constr type="ctrY" for="ch" forName="picture_2" refType="h" refFor="ch" refForName="picture_1" fact="0.187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75"/>
                <dgm:constr type="h" for="ch" forName="picture_3" refType="h" refFor="ch" refForName="picture_1" fact="0.375"/>
                <dgm:constr type="l" for="ch" forName="picture_3" refType="w" refFor="ch" refForName="picture_1" fact="1.21"/>
                <dgm:constr type="ctrY" for="ch" forName="picture_3" refType="h" refFor="ch" refForName="picture_1" fact="0.8125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</dgm:constrLst>
            </dgm:if>
            <dgm:else name="Name11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75"/>
                <dgm:constr type="h" for="ch" forName="picture_2" refType="h" refFor="ch" refForName="picture_1" fact="0.375"/>
                <dgm:constr type="r" for="ch" forName="picture_2" refType="w"/>
                <dgm:constr type="rOff" for="ch" forName="picture_2" refType="w" refFor="ch" refForName="picture_1" fact="-1.21"/>
                <dgm:constr type="ctrY" for="ch" forName="picture_2" refType="h" refFor="ch" refForName="picture_1" fact="0.187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75"/>
                <dgm:constr type="h" for="ch" forName="picture_3" refType="h" refFor="ch" refForName="picture_1" fact="0.375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8125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</dgm:constrLst>
            </dgm:else>
          </dgm:choose>
        </dgm:if>
        <dgm:if name="Name12" axis="ch" ptType="node" func="cnt" op="lte" val="4">
          <dgm:choose name="Name13">
            <dgm:if name="Name14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"/>
                <dgm:constr type="h" for="ch" forName="picture_2" refType="h" refFor="ch" refForName="picture_1" fact="0.3"/>
                <dgm:constr type="l" for="ch" forName="picture_2" refType="w" refFor="ch" refForName="picture_1" fact="1.354"/>
                <dgm:constr type="ctrY" for="ch" forName="picture_2" refType="h" refFor="ch" refForName="picture_1" fact="0.1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"/>
                <dgm:constr type="h" for="ch" forName="picture_3" refType="h" refFor="ch" refForName="picture_1" fact="0.3"/>
                <dgm:constr type="l" for="ch" forName="picture_3" refType="w" refFor="ch" refForName="picture_1" fact="1.21"/>
                <dgm:constr type="ctrY" for="ch" forName="picture_3" refType="h" refFor="ch" refForName="picture_1" fact="0.5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3"/>
                <dgm:constr type="h" for="ch" forName="picture_4" refType="h" refFor="ch" refForName="picture_1" fact="0.3"/>
                <dgm:constr type="l" for="ch" forName="picture_4" refType="w" refFor="ch" refForName="picture_1" fact="1.354"/>
                <dgm:constr type="ctrY" for="ch" forName="picture_4" refType="h" refFor="ch" refForName="picture_1" fact="0.8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</dgm:constrLst>
            </dgm:if>
            <dgm:else name="Name15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3"/>
                <dgm:constr type="h" for="ch" forName="picture_2" refType="h" refFor="ch" refForName="picture_1" fact="0.3"/>
                <dgm:constr type="r" for="ch" forName="picture_2" refType="w"/>
                <dgm:constr type="rOff" for="ch" forName="picture_2" refType="w" refFor="ch" refForName="picture_1" fact="-1.354"/>
                <dgm:constr type="ctrY" for="ch" forName="picture_2" refType="h" refFor="ch" refForName="picture_1" fact="0.1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3"/>
                <dgm:constr type="h" for="ch" forName="picture_3" refType="h" refFor="ch" refForName="picture_1" fact="0.3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5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3"/>
                <dgm:constr type="h" for="ch" forName="picture_4" refType="h" refFor="ch" refForName="picture_1" fact="0.3"/>
                <dgm:constr type="r" for="ch" forName="picture_4" refType="w"/>
                <dgm:constr type="rOff" for="ch" forName="picture_4" refType="w" refFor="ch" refForName="picture_1" fact="-1.354"/>
                <dgm:constr type="ctrY" for="ch" forName="picture_4" refType="h" refFor="ch" refForName="picture_1" fact="0.8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</dgm:constrLst>
            </dgm:else>
          </dgm:choose>
        </dgm:if>
        <dgm:if name="Name16" axis="ch" ptType="node" func="cnt" op="lte" val="5">
          <dgm:choose name="Name17">
            <dgm:if name="Name18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22"/>
                <dgm:constr type="h" for="ch" forName="picture_2" refType="h" refFor="ch" refForName="picture_1" fact="0.22"/>
                <dgm:constr type="l" for="ch" forName="picture_2" refType="w" refFor="ch" refForName="picture_1" fact="1.375"/>
                <dgm:constr type="ctrY" for="ch" forName="picture_2" refType="h" refFor="ch" refForName="picture_1" fact="0.11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22"/>
                <dgm:constr type="h" for="ch" forName="picture_3" refType="h" refFor="ch" refForName="picture_1" fact="0.22"/>
                <dgm:constr type="l" for="ch" forName="picture_3" refType="w" refFor="ch" refForName="picture_1" fact="1.21"/>
                <dgm:constr type="ctrY" for="ch" forName="picture_3" refType="h" refFor="ch" refForName="picture_1" fact="0.353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22"/>
                <dgm:constr type="h" for="ch" forName="picture_4" refType="h" refFor="ch" refForName="picture_1" fact="0.22"/>
                <dgm:constr type="l" for="ch" forName="picture_4" refType="w" refFor="ch" refForName="picture_1" fact="1.21"/>
                <dgm:constr type="ctrY" for="ch" forName="picture_4" refType="h" refFor="ch" refForName="picture_1" fact="0.647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22"/>
                <dgm:constr type="h" for="ch" forName="picture_5" refType="h" refFor="ch" refForName="picture_1" fact="0.22"/>
                <dgm:constr type="l" for="ch" forName="picture_5" refType="w" refFor="ch" refForName="picture_1" fact="1.375"/>
                <dgm:constr type="ctrY" for="ch" forName="picture_5" refType="h" refFor="ch" refForName="picture_1" fact="0.89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</dgm:constrLst>
            </dgm:if>
            <dgm:else name="Name19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22"/>
                <dgm:constr type="h" for="ch" forName="picture_2" refType="h" refFor="ch" refForName="picture_1" fact="0.22"/>
                <dgm:constr type="r" for="ch" forName="picture_2" refType="w"/>
                <dgm:constr type="rOff" for="ch" forName="picture_2" refType="w" refFor="ch" refForName="picture_1" fact="-1.375"/>
                <dgm:constr type="ctrY" for="ch" forName="picture_2" refType="h" refFor="ch" refForName="picture_1" fact="0.11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22"/>
                <dgm:constr type="h" for="ch" forName="picture_3" refType="h" refFor="ch" refForName="picture_1" fact="0.22"/>
                <dgm:constr type="r" for="ch" forName="picture_3" refType="w"/>
                <dgm:constr type="rOff" for="ch" forName="picture_3" refType="w" refFor="ch" refForName="picture_1" fact="-1.21"/>
                <dgm:constr type="ctrY" for="ch" forName="picture_3" refType="h" refFor="ch" refForName="picture_1" fact="0.353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22"/>
                <dgm:constr type="h" for="ch" forName="picture_4" refType="h" refFor="ch" refForName="picture_1" fact="0.22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647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22"/>
                <dgm:constr type="h" for="ch" forName="picture_5" refType="h" refFor="ch" refForName="picture_1" fact="0.22"/>
                <dgm:constr type="r" for="ch" forName="picture_5" refType="w"/>
                <dgm:constr type="rOff" for="ch" forName="picture_5" refType="w" refFor="ch" refForName="picture_1" fact="-1.375"/>
                <dgm:constr type="ctrY" for="ch" forName="picture_5" refType="h" refFor="ch" refForName="picture_1" fact="0.89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</dgm:constrLst>
            </dgm:else>
          </dgm:choose>
        </dgm:if>
        <dgm:if name="Name20" axis="ch" ptType="node" func="cnt" op="lte" val="6">
          <dgm:choose name="Name21">
            <dgm:if name="Name22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8"/>
                <dgm:constr type="h" for="ch" forName="picture_2" refType="h" refFor="ch" refForName="picture_1" fact="0.18"/>
                <dgm:constr type="l" for="ch" forName="picture_2" refType="w" refFor="ch" refForName="picture_1" fact="1.4238"/>
                <dgm:constr type="ctrY" for="ch" forName="picture_2" refType="h" refFor="ch" refForName="picture_1" fact="0.09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8"/>
                <dgm:constr type="h" for="ch" forName="picture_3" refType="h" refFor="ch" refForName="picture_1" fact="0.18"/>
                <dgm:constr type="l" for="ch" forName="picture_3" refType="w" refFor="ch" refForName="picture_1" fact="1.2667"/>
                <dgm:constr type="ctrY" for="ch" forName="picture_3" refType="h" refFor="ch" refForName="picture_1" fact="0.261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8"/>
                <dgm:constr type="h" for="ch" forName="picture_4" refType="h" refFor="ch" refForName="picture_1" fact="0.18"/>
                <dgm:constr type="l" for="ch" forName="picture_4" refType="w" refFor="ch" refForName="picture_1" fact="1.21"/>
                <dgm:constr type="ctrY" for="ch" forName="picture_4" refType="h" refFor="ch" refForName="picture_1" fact="0.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8"/>
                <dgm:constr type="h" for="ch" forName="picture_5" refType="h" refFor="ch" refForName="picture_1" fact="0.18"/>
                <dgm:constr type="l" for="ch" forName="picture_5" refType="w" refFor="ch" refForName="picture_1" fact="1.2667"/>
                <dgm:constr type="ctrY" for="ch" forName="picture_5" refType="h" refFor="ch" refForName="picture_1" fact="0.739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8"/>
                <dgm:constr type="h" for="ch" forName="picture_6" refType="h" refFor="ch" refForName="picture_1" fact="0.18"/>
                <dgm:constr type="l" for="ch" forName="picture_6" refType="w" refFor="ch" refForName="picture_1" fact="1.4238"/>
                <dgm:constr type="ctrY" for="ch" forName="picture_6" refType="h" refFor="ch" refForName="picture_1" fact="0.91"/>
                <dgm:constr type="l" for="ch" forName="line_6" refType="ctrX" refFor="ch" refForName="picture_1"/>
                <dgm:constr type="h" for="ch" forName="line_6"/>
                <dgm:constr type="r" for="ch" forName="line_6" refType="ctrX" refFor="ch" refForName="picture_6"/>
                <dgm:constr type="ctrY" for="ch" forName="line_6" refType="ctrY" refFor="ch" refForName="picture_6"/>
                <dgm:constr type="r" for="ch" forName="textparent_6" refType="w"/>
                <dgm:constr type="h" for="ch" forName="textparent_6" refType="h" refFor="ch" refForName="picture_6"/>
                <dgm:constr type="l" for="ch" forName="textparent_6" refType="r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</dgm:constrLst>
            </dgm:if>
            <dgm:else name="Name23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8"/>
                <dgm:constr type="h" for="ch" forName="picture_2" refType="h" refFor="ch" refForName="picture_1" fact="0.18"/>
                <dgm:constr type="r" for="ch" forName="picture_2" refType="w"/>
                <dgm:constr type="rOff" for="ch" forName="picture_2" refType="w" refFor="ch" refForName="picture_1" fact="-1.4238"/>
                <dgm:constr type="ctrY" for="ch" forName="picture_2" refType="h" refFor="ch" refForName="picture_1" fact="0.09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8"/>
                <dgm:constr type="h" for="ch" forName="picture_3" refType="h" refFor="ch" refForName="picture_1" fact="0.18"/>
                <dgm:constr type="r" for="ch" forName="picture_3" refType="w"/>
                <dgm:constr type="rOff" for="ch" forName="picture_3" refType="w" refFor="ch" refForName="picture_1" fact="-1.2667"/>
                <dgm:constr type="ctrY" for="ch" forName="picture_3" refType="h" refFor="ch" refForName="picture_1" fact="0.261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8"/>
                <dgm:constr type="h" for="ch" forName="picture_4" refType="h" refFor="ch" refForName="picture_1" fact="0.18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8"/>
                <dgm:constr type="h" for="ch" forName="picture_5" refType="h" refFor="ch" refForName="picture_1" fact="0.18"/>
                <dgm:constr type="r" for="ch" forName="picture_5" refType="w"/>
                <dgm:constr type="rOff" for="ch" forName="picture_5" refType="w" refFor="ch" refForName="picture_1" fact="-1.2667"/>
                <dgm:constr type="ctrY" for="ch" forName="picture_5" refType="h" refFor="ch" refForName="picture_1" fact="0.739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8"/>
                <dgm:constr type="h" for="ch" forName="picture_6" refType="h" refFor="ch" refForName="picture_1" fact="0.18"/>
                <dgm:constr type="r" for="ch" forName="picture_6" refType="w"/>
                <dgm:constr type="rOff" for="ch" forName="picture_6" refType="w" refFor="ch" refForName="picture_1" fact="-1.4238"/>
                <dgm:constr type="ctrY" for="ch" forName="picture_6" refType="h" refFor="ch" refForName="picture_1" fact="0.91"/>
                <dgm:constr type="r" for="ch" forName="line_6" refType="ctrX" refFor="ch" refForName="picture_1"/>
                <dgm:constr type="h" for="ch" forName="line_6"/>
                <dgm:constr type="l" for="ch" forName="line_6" refType="ctrX" refFor="ch" refForName="picture_6"/>
                <dgm:constr type="ctrY" for="ch" forName="line_6" refType="ctrY" refFor="ch" refForName="picture_6"/>
                <dgm:constr type="l" for="ch" forName="textparent_6"/>
                <dgm:constr type="h" for="ch" forName="textparent_6" refType="h" refFor="ch" refForName="picture_6"/>
                <dgm:constr type="r" for="ch" forName="textparent_6" refType="l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</dgm:constrLst>
            </dgm:else>
          </dgm:choose>
        </dgm:if>
        <dgm:else name="Name24">
          <dgm:choose name="Name25">
            <dgm:if name="Name26" func="var" arg="dir" op="equ" val="norm">
              <dgm:constrLst>
                <dgm:constr type="h" for="ch" forName="picture_1" refType="h"/>
                <dgm:constr type="w" for="ch" forName="picture_1" refType="h" refFor="ch" refForName="picture_1" op="equ"/>
                <dgm:constr type="l" for="ch" forName="picture_1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5"/>
                <dgm:constr type="h" for="ch" forName="picture_2" refType="h" refFor="ch" refForName="picture_1" fact="0.15"/>
                <dgm:constr type="l" for="ch" forName="picture_2" refType="w" refFor="ch" refForName="picture_1" fact="1.4363"/>
                <dgm:constr type="ctrY" for="ch" forName="picture_2" refType="h" refFor="ch" refForName="picture_1" fact="0.075"/>
                <dgm:constr type="l" for="ch" forName="line_2" refType="ctrX" refFor="ch" refForName="picture_1"/>
                <dgm:constr type="h" for="ch" forName="line_2"/>
                <dgm:constr type="r" for="ch" forName="line_2" refType="ctrX" refFor="ch" refForName="picture_2"/>
                <dgm:constr type="ctrY" for="ch" forName="line_2" refType="ctrY" refFor="ch" refForName="picture_2"/>
                <dgm:constr type="r" for="ch" forName="textparent_2" refType="w"/>
                <dgm:constr type="h" for="ch" forName="textparent_2" refType="h" refFor="ch" refForName="picture_2"/>
                <dgm:constr type="l" for="ch" forName="textparent_2" refType="r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5"/>
                <dgm:constr type="h" for="ch" forName="picture_3" refType="h" refFor="ch" refForName="picture_1" fact="0.15"/>
                <dgm:constr type="l" for="ch" forName="picture_3" refType="w" refFor="ch" refForName="picture_1" fact="1.2898"/>
                <dgm:constr type="ctrY" for="ch" forName="picture_3" refType="h" refFor="ch" refForName="picture_1" fact="0.227"/>
                <dgm:constr type="l" for="ch" forName="line_3" refType="ctrX" refFor="ch" refForName="picture_1"/>
                <dgm:constr type="h" for="ch" forName="line_3"/>
                <dgm:constr type="r" for="ch" forName="line_3" refType="ctrX" refFor="ch" refForName="picture_3"/>
                <dgm:constr type="ctrY" for="ch" forName="line_3" refType="ctrY" refFor="ch" refForName="picture_3"/>
                <dgm:constr type="r" for="ch" forName="textparent_3" refType="w"/>
                <dgm:constr type="h" for="ch" forName="textparent_3" refType="h" refFor="ch" refForName="picture_3"/>
                <dgm:constr type="l" for="ch" forName="textparent_3" refType="r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5"/>
                <dgm:constr type="h" for="ch" forName="picture_4" refType="h" refFor="ch" refForName="picture_1" fact="0.15"/>
                <dgm:constr type="l" for="ch" forName="picture_4" refType="w" refFor="ch" refForName="picture_1" fact="1.21"/>
                <dgm:constr type="ctrY" for="ch" forName="picture_4" refType="h" refFor="ch" refForName="picture_1" fact="0.405"/>
                <dgm:constr type="l" for="ch" forName="line_4" refType="ctrX" refFor="ch" refForName="picture_1"/>
                <dgm:constr type="h" for="ch" forName="line_4"/>
                <dgm:constr type="r" for="ch" forName="line_4" refType="ctrX" refFor="ch" refForName="picture_4"/>
                <dgm:constr type="ctrY" for="ch" forName="line_4" refType="ctrY" refFor="ch" refForName="picture_4"/>
                <dgm:constr type="r" for="ch" forName="textparent_4" refType="w"/>
                <dgm:constr type="h" for="ch" forName="textparent_4" refType="h" refFor="ch" refForName="picture_4"/>
                <dgm:constr type="l" for="ch" forName="textparent_4" refType="r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5"/>
                <dgm:constr type="h" for="ch" forName="picture_5" refType="h" refFor="ch" refForName="picture_1" fact="0.15"/>
                <dgm:constr type="l" for="ch" forName="picture_5" refType="w" refFor="ch" refForName="picture_1" fact="1.21"/>
                <dgm:constr type="ctrY" for="ch" forName="picture_5" refType="h" refFor="ch" refForName="picture_1" fact="0.595"/>
                <dgm:constr type="l" for="ch" forName="line_5" refType="ctrX" refFor="ch" refForName="picture_1"/>
                <dgm:constr type="h" for="ch" forName="line_5"/>
                <dgm:constr type="r" for="ch" forName="line_5" refType="ctrX" refFor="ch" refForName="picture_5"/>
                <dgm:constr type="ctrY" for="ch" forName="line_5" refType="ctrY" refFor="ch" refForName="picture_5"/>
                <dgm:constr type="r" for="ch" forName="textparent_5" refType="w"/>
                <dgm:constr type="h" for="ch" forName="textparent_5" refType="h" refFor="ch" refForName="picture_5"/>
                <dgm:constr type="l" for="ch" forName="textparent_5" refType="r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5"/>
                <dgm:constr type="h" for="ch" forName="picture_6" refType="h" refFor="ch" refForName="picture_1" fact="0.15"/>
                <dgm:constr type="l" for="ch" forName="picture_6" refType="w" refFor="ch" refForName="picture_1" fact="1.2898"/>
                <dgm:constr type="ctrY" for="ch" forName="picture_6" refType="h" refFor="ch" refForName="picture_1" fact="0.773"/>
                <dgm:constr type="l" for="ch" forName="line_6" refType="ctrX" refFor="ch" refForName="picture_1"/>
                <dgm:constr type="h" for="ch" forName="line_6"/>
                <dgm:constr type="r" for="ch" forName="line_6" refType="ctrX" refFor="ch" refForName="picture_6"/>
                <dgm:constr type="ctrY" for="ch" forName="line_6" refType="ctrY" refFor="ch" refForName="picture_6"/>
                <dgm:constr type="r" for="ch" forName="textparent_6" refType="w"/>
                <dgm:constr type="h" for="ch" forName="textparent_6" refType="h" refFor="ch" refForName="picture_6"/>
                <dgm:constr type="l" for="ch" forName="textparent_6" refType="r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  <dgm:constr type="w" for="ch" forName="picture_7" refType="w" refFor="ch" refForName="picture_1" fact="0.15"/>
                <dgm:constr type="h" for="ch" forName="picture_7" refType="h" refFor="ch" refForName="picture_1" fact="0.15"/>
                <dgm:constr type="l" for="ch" forName="picture_7" refType="w" refFor="ch" refForName="picture_1" fact="1.4363"/>
                <dgm:constr type="ctrY" for="ch" forName="picture_7" refType="h" refFor="ch" refForName="picture_1" fact="0.925"/>
                <dgm:constr type="l" for="ch" forName="line_7" refType="ctrX" refFor="ch" refForName="picture_1"/>
                <dgm:constr type="h" for="ch" forName="line_7"/>
                <dgm:constr type="r" for="ch" forName="line_7" refType="ctrX" refFor="ch" refForName="picture_7"/>
                <dgm:constr type="ctrY" for="ch" forName="line_7" refType="ctrY" refFor="ch" refForName="picture_7"/>
                <dgm:constr type="r" for="ch" forName="textparent_7" refType="w"/>
                <dgm:constr type="h" for="ch" forName="textparent_7" refType="h" refFor="ch" refForName="picture_7"/>
                <dgm:constr type="l" for="ch" forName="textparent_7" refType="r" refFor="ch" refForName="picture_7"/>
                <dgm:constr type="ctrY" for="ch" forName="textparent_7" refType="ctrY" refFor="ch" refForName="picture_7"/>
                <dgm:constr type="primFontSz" for="des" forName="text_7" refType="primFontSz" refFor="des" refForName="text_2" op="equ"/>
              </dgm:constrLst>
            </dgm:if>
            <dgm:else name="Name27">
              <dgm:constrLst>
                <dgm:constr type="h" for="ch" forName="picture_1" refType="h"/>
                <dgm:constr type="w" for="ch" forName="picture_1" refType="h" refFor="ch" refForName="picture_1" op="equ"/>
                <dgm:constr type="r" for="ch" forName="picture_1" refType="w"/>
                <dgm:constr type="t" for="ch" forName="picture_1"/>
                <dgm:constr type="w" for="ch" forName="text_1" refType="w" refFor="ch" refForName="picture_1" fact="0.64"/>
                <dgm:constr type="h" for="ch" forName="text_1" refType="h" refFor="ch" refForName="picture_1" fact="0.33"/>
                <dgm:constr type="l" for="ch" forName="text_1" refType="l" refFor="ch" refForName="picture_1"/>
                <dgm:constr type="lOff" for="ch" forName="text_1" refType="w" refFor="ch" refForName="picture_1" fact="0.18"/>
                <dgm:constr type="t" for="ch" forName="text_1" refType="h" refFor="ch" refForName="picture_1" fact="0.531"/>
                <dgm:constr type="w" for="ch" forName="picture_2" refType="w" refFor="ch" refForName="picture_1" fact="0.15"/>
                <dgm:constr type="h" for="ch" forName="picture_2" refType="h" refFor="ch" refForName="picture_1" fact="0.15"/>
                <dgm:constr type="r" for="ch" forName="picture_2" refType="w"/>
                <dgm:constr type="rOff" for="ch" forName="picture_2" refType="w" refFor="ch" refForName="picture_1" fact="-1.4363"/>
                <dgm:constr type="ctrY" for="ch" forName="picture_2" refType="h" refFor="ch" refForName="picture_1" fact="0.075"/>
                <dgm:constr type="r" for="ch" forName="line_2" refType="ctrX" refFor="ch" refForName="picture_1"/>
                <dgm:constr type="h" for="ch" forName="line_2"/>
                <dgm:constr type="l" for="ch" forName="line_2" refType="ctrX" refFor="ch" refForName="picture_2"/>
                <dgm:constr type="ctrY" for="ch" forName="line_2" refType="ctrY" refFor="ch" refForName="picture_2"/>
                <dgm:constr type="l" for="ch" forName="textparent_2"/>
                <dgm:constr type="h" for="ch" forName="textparent_2" refType="h" refFor="ch" refForName="picture_2"/>
                <dgm:constr type="r" for="ch" forName="textparent_2" refType="l" refFor="ch" refForName="picture_2"/>
                <dgm:constr type="ctrY" for="ch" forName="textparent_2" refType="ctrY" refFor="ch" refForName="picture_2"/>
                <dgm:constr type="primFontSz" for="des" forName="text_2" val="65"/>
                <dgm:constr type="w" for="ch" forName="picture_3" refType="w" refFor="ch" refForName="picture_1" fact="0.15"/>
                <dgm:constr type="h" for="ch" forName="picture_3" refType="h" refFor="ch" refForName="picture_1" fact="0.15"/>
                <dgm:constr type="r" for="ch" forName="picture_3" refType="w"/>
                <dgm:constr type="rOff" for="ch" forName="picture_3" refType="w" refFor="ch" refForName="picture_1" fact="-1.2898"/>
                <dgm:constr type="ctrY" for="ch" forName="picture_3" refType="h" refFor="ch" refForName="picture_1" fact="0.227"/>
                <dgm:constr type="r" for="ch" forName="line_3" refType="ctrX" refFor="ch" refForName="picture_1"/>
                <dgm:constr type="h" for="ch" forName="line_3"/>
                <dgm:constr type="l" for="ch" forName="line_3" refType="ctrX" refFor="ch" refForName="picture_3"/>
                <dgm:constr type="ctrY" for="ch" forName="line_3" refType="ctrY" refFor="ch" refForName="picture_3"/>
                <dgm:constr type="l" for="ch" forName="textparent_3"/>
                <dgm:constr type="h" for="ch" forName="textparent_3" refType="h" refFor="ch" refForName="picture_3"/>
                <dgm:constr type="r" for="ch" forName="textparent_3" refType="l" refFor="ch" refForName="picture_3"/>
                <dgm:constr type="ctrY" for="ch" forName="textparent_3" refType="ctrY" refFor="ch" refForName="picture_3"/>
                <dgm:constr type="primFontSz" for="des" forName="text_3" refType="primFontSz" refFor="des" refForName="text_2" op="equ"/>
                <dgm:constr type="w" for="ch" forName="picture_4" refType="w" refFor="ch" refForName="picture_1" fact="0.15"/>
                <dgm:constr type="h" for="ch" forName="picture_4" refType="h" refFor="ch" refForName="picture_1" fact="0.15"/>
                <dgm:constr type="r" for="ch" forName="picture_4" refType="w"/>
                <dgm:constr type="rOff" for="ch" forName="picture_4" refType="w" refFor="ch" refForName="picture_1" fact="-1.21"/>
                <dgm:constr type="ctrY" for="ch" forName="picture_4" refType="h" refFor="ch" refForName="picture_1" fact="0.405"/>
                <dgm:constr type="r" for="ch" forName="line_4" refType="ctrX" refFor="ch" refForName="picture_1"/>
                <dgm:constr type="h" for="ch" forName="line_4"/>
                <dgm:constr type="l" for="ch" forName="line_4" refType="ctrX" refFor="ch" refForName="picture_4"/>
                <dgm:constr type="ctrY" for="ch" forName="line_4" refType="ctrY" refFor="ch" refForName="picture_4"/>
                <dgm:constr type="l" for="ch" forName="textparent_4"/>
                <dgm:constr type="h" for="ch" forName="textparent_4" refType="h" refFor="ch" refForName="picture_4"/>
                <dgm:constr type="r" for="ch" forName="textparent_4" refType="l" refFor="ch" refForName="picture_4"/>
                <dgm:constr type="ctrY" for="ch" forName="textparent_4" refType="ctrY" refFor="ch" refForName="picture_4"/>
                <dgm:constr type="primFontSz" for="des" forName="text_4" refType="primFontSz" refFor="des" refForName="text_2" op="equ"/>
                <dgm:constr type="w" for="ch" forName="picture_5" refType="w" refFor="ch" refForName="picture_1" fact="0.15"/>
                <dgm:constr type="h" for="ch" forName="picture_5" refType="h" refFor="ch" refForName="picture_1" fact="0.15"/>
                <dgm:constr type="r" for="ch" forName="picture_5" refType="w"/>
                <dgm:constr type="rOff" for="ch" forName="picture_5" refType="w" refFor="ch" refForName="picture_1" fact="-1.21"/>
                <dgm:constr type="ctrY" for="ch" forName="picture_5" refType="h" refFor="ch" refForName="picture_1" fact="0.595"/>
                <dgm:constr type="r" for="ch" forName="line_5" refType="ctrX" refFor="ch" refForName="picture_1"/>
                <dgm:constr type="h" for="ch" forName="line_5"/>
                <dgm:constr type="l" for="ch" forName="line_5" refType="ctrX" refFor="ch" refForName="picture_5"/>
                <dgm:constr type="ctrY" for="ch" forName="line_5" refType="ctrY" refFor="ch" refForName="picture_5"/>
                <dgm:constr type="l" for="ch" forName="textparent_5"/>
                <dgm:constr type="h" for="ch" forName="textparent_5" refType="h" refFor="ch" refForName="picture_5"/>
                <dgm:constr type="r" for="ch" forName="textparent_5" refType="l" refFor="ch" refForName="picture_5"/>
                <dgm:constr type="ctrY" for="ch" forName="textparent_5" refType="ctrY" refFor="ch" refForName="picture_5"/>
                <dgm:constr type="primFontSz" for="des" forName="text_5" refType="primFontSz" refFor="des" refForName="text_2" op="equ"/>
                <dgm:constr type="w" for="ch" forName="picture_6" refType="w" refFor="ch" refForName="picture_1" fact="0.15"/>
                <dgm:constr type="h" for="ch" forName="picture_6" refType="h" refFor="ch" refForName="picture_1" fact="0.15"/>
                <dgm:constr type="r" for="ch" forName="picture_6" refType="w"/>
                <dgm:constr type="rOff" for="ch" forName="picture_6" refType="w" refFor="ch" refForName="picture_1" fact="-1.2898"/>
                <dgm:constr type="ctrY" for="ch" forName="picture_6" refType="h" refFor="ch" refForName="picture_1" fact="0.773"/>
                <dgm:constr type="r" for="ch" forName="line_6" refType="ctrX" refFor="ch" refForName="picture_1"/>
                <dgm:constr type="h" for="ch" forName="line_6"/>
                <dgm:constr type="l" for="ch" forName="line_6" refType="ctrX" refFor="ch" refForName="picture_6"/>
                <dgm:constr type="ctrY" for="ch" forName="line_6" refType="ctrY" refFor="ch" refForName="picture_6"/>
                <dgm:constr type="l" for="ch" forName="textparent_6"/>
                <dgm:constr type="h" for="ch" forName="textparent_6" refType="h" refFor="ch" refForName="picture_6"/>
                <dgm:constr type="r" for="ch" forName="textparent_6" refType="l" refFor="ch" refForName="picture_6"/>
                <dgm:constr type="ctrY" for="ch" forName="textparent_6" refType="ctrY" refFor="ch" refForName="picture_6"/>
                <dgm:constr type="primFontSz" for="des" forName="text_6" refType="primFontSz" refFor="des" refForName="text_2" op="equ"/>
                <dgm:constr type="w" for="ch" forName="picture_7" refType="w" refFor="ch" refForName="picture_1" fact="0.15"/>
                <dgm:constr type="h" for="ch" forName="picture_7" refType="h" refFor="ch" refForName="picture_1" fact="0.15"/>
                <dgm:constr type="r" for="ch" forName="picture_7" refType="w"/>
                <dgm:constr type="rOff" for="ch" forName="picture_7" refType="w" refFor="ch" refForName="picture_1" fact="-1.4363"/>
                <dgm:constr type="ctrY" for="ch" forName="picture_7" refType="h" refFor="ch" refForName="picture_1" fact="0.925"/>
                <dgm:constr type="r" for="ch" forName="line_7" refType="ctrX" refFor="ch" refForName="picture_1"/>
                <dgm:constr type="h" for="ch" forName="line_7"/>
                <dgm:constr type="l" for="ch" forName="line_7" refType="ctrX" refFor="ch" refForName="picture_7"/>
                <dgm:constr type="ctrY" for="ch" forName="line_7" refType="ctrY" refFor="ch" refForName="picture_7"/>
                <dgm:constr type="l" for="ch" forName="textparent_7"/>
                <dgm:constr type="h" for="ch" forName="textparent_7" refType="h" refFor="ch" refForName="picture_7"/>
                <dgm:constr type="r" for="ch" forName="textparent_7" refType="l" refFor="ch" refForName="picture_7"/>
                <dgm:constr type="ctrY" for="ch" forName="textparent_7" refType="ctrY" refFor="ch" refForName="picture_7"/>
                <dgm:constr type="primFontSz" for="des" forName="text_7" refType="primFontSz" refFor="des" refForName="text_2" op="equ"/>
              </dgm:constrLst>
            </dgm:else>
          </dgm:choose>
        </dgm:else>
      </dgm:choose>
      <dgm:forEach name="wrapper" axis="self" ptType="parTrans">
        <dgm:forEach name="wrapper2" axis="self" ptType="sibTrans" st="2">
          <dgm:forEach name="pictureRepeat" axis="self">
            <dgm:layoutNode name="pictureRepeatNode" styleLbl="alignImgPlace1">
              <dgm:alg type="sp"/>
              <dgm:shape xmlns:r="http://schemas.openxmlformats.org/officeDocument/2006/relationships" type="ellipse" r:blip="" blipPhldr="1">
                <dgm:adjLst/>
              </dgm:shape>
              <dgm:presOf axis="self"/>
            </dgm:layoutNode>
          </dgm:forEach>
        </dgm:forEach>
      </dgm:forEach>
      <dgm:forEach name="Name28" axis="ch" ptType="sibTrans" hideLastTrans="0" cnt="1">
        <dgm:layoutNode name="picture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9" ref="pictureRepeat"/>
        </dgm:layoutNode>
      </dgm:forEach>
      <dgm:forEach name="Name30" axis="ch" ptType="node" cnt="1">
        <dgm:layoutNode name="text_1" styleLbl="node1">
          <dgm:varLst>
            <dgm:bulletEnabled val="1"/>
          </dgm:varLst>
          <dgm:alg type="tx">
            <dgm:param type="txAnchorVert" val="b"/>
            <dgm:param type="txAnchorVertCh" val="b"/>
            <dgm:param type="parTxRTLAlign" val="r"/>
            <dgm:param type="shpTxRTLAlignCh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primFontSz" val="65"/>
            <dgm:constr type="lMarg"/>
            <dgm:constr type="rMarg"/>
            <dgm:constr type="tMarg"/>
            <dgm:constr type="bMarg"/>
          </dgm:constrLst>
          <dgm:ruleLst>
            <dgm:rule type="primFontSz" val="5" fact="NaN" max="NaN"/>
          </dgm:ruleLst>
        </dgm:layoutNode>
      </dgm:forEach>
      <dgm:forEach name="Name31" axis="ch" ptType="sibTrans" hideLastTrans="0" st="2" cnt="1">
        <dgm:layoutNode name="picture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2" ref="pictureRepeat"/>
        </dgm:layoutNode>
      </dgm:forEach>
      <dgm:forEach name="Name33" axis="ch" ptType="node" st="2" cnt="1">
        <dgm:layoutNode name="line_2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2">
          <dgm:choose name="Name34">
            <dgm:if name="Name35" func="var" arg="dir" op="equ" val="norm">
              <dgm:alg type="lin">
                <dgm:param type="horzAlign" val="l"/>
              </dgm:alg>
            </dgm:if>
            <dgm:else name="Name36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2" refType="w"/>
            <dgm:constr type="h" for="ch" forName="text_2" refType="h"/>
          </dgm:constrLst>
          <dgm:presOf/>
          <dgm:layoutNode name="text_2" styleLbl="revTx">
            <dgm:varLst>
              <dgm:bulletEnabled val="1"/>
            </dgm:varLst>
            <dgm:choose name="Name37">
              <dgm:if name="Name38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39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40" axis="ch" ptType="sibTrans" hideLastTrans="0" st="3" cnt="1">
        <dgm:layoutNode name="picture_3">
          <dgm:alg type="sp"/>
          <dgm:shape xmlns:r="http://schemas.openxmlformats.org/officeDocument/2006/relationships" r:blip="">
            <dgm:adjLst/>
          </dgm:shape>
          <dgm:presOf/>
          <dgm:constrLst/>
          <dgm:forEach name="Name41" ref="pictureRepeat"/>
        </dgm:layoutNode>
      </dgm:forEach>
      <dgm:forEach name="Name42" axis="ch" ptType="node" st="3" cnt="1">
        <dgm:layoutNode name="line_3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3">
          <dgm:choose name="Name43">
            <dgm:if name="Name44" func="var" arg="dir" op="equ" val="norm">
              <dgm:alg type="lin">
                <dgm:param type="horzAlign" val="l"/>
              </dgm:alg>
            </dgm:if>
            <dgm:else name="Name45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3" refType="w"/>
            <dgm:constr type="h" for="ch" forName="text_3" refType="h"/>
          </dgm:constrLst>
          <dgm:presOf/>
          <dgm:layoutNode name="text_3" styleLbl="revTx">
            <dgm:varLst>
              <dgm:bulletEnabled val="1"/>
            </dgm:varLst>
            <dgm:choose name="Name46">
              <dgm:if name="Name47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48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49" axis="ch" ptType="sibTrans" hideLastTrans="0" st="4" cnt="1">
        <dgm:layoutNode name="picture_4">
          <dgm:alg type="sp"/>
          <dgm:shape xmlns:r="http://schemas.openxmlformats.org/officeDocument/2006/relationships" r:blip="">
            <dgm:adjLst/>
          </dgm:shape>
          <dgm:presOf/>
          <dgm:constrLst/>
          <dgm:forEach name="Name50" ref="pictureRepeat"/>
        </dgm:layoutNode>
      </dgm:forEach>
      <dgm:forEach name="Name51" axis="ch" ptType="node" st="4" cnt="1">
        <dgm:layoutNode name="line_4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4">
          <dgm:choose name="Name52">
            <dgm:if name="Name53" func="var" arg="dir" op="equ" val="norm">
              <dgm:alg type="lin">
                <dgm:param type="horzAlign" val="l"/>
              </dgm:alg>
            </dgm:if>
            <dgm:else name="Name54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4" refType="w"/>
            <dgm:constr type="h" for="ch" forName="text_4" refType="h"/>
          </dgm:constrLst>
          <dgm:presOf/>
          <dgm:layoutNode name="text_4" styleLbl="revTx">
            <dgm:varLst>
              <dgm:bulletEnabled val="1"/>
            </dgm:varLst>
            <dgm:choose name="Name55">
              <dgm:if name="Name56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57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58" axis="ch" ptType="sibTrans" hideLastTrans="0" st="5" cnt="1">
        <dgm:layoutNode name="picture_5">
          <dgm:alg type="sp"/>
          <dgm:shape xmlns:r="http://schemas.openxmlformats.org/officeDocument/2006/relationships" r:blip="">
            <dgm:adjLst/>
          </dgm:shape>
          <dgm:presOf/>
          <dgm:constrLst/>
          <dgm:forEach name="Name59" ref="pictureRepeat"/>
        </dgm:layoutNode>
      </dgm:forEach>
      <dgm:forEach name="Name60" axis="ch" ptType="node" st="5" cnt="1">
        <dgm:layoutNode name="line_5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5">
          <dgm:choose name="Name61">
            <dgm:if name="Name62" func="var" arg="dir" op="equ" val="norm">
              <dgm:alg type="lin">
                <dgm:param type="horzAlign" val="l"/>
              </dgm:alg>
            </dgm:if>
            <dgm:else name="Name63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5" refType="w"/>
            <dgm:constr type="h" for="ch" forName="text_5" refType="h"/>
          </dgm:constrLst>
          <dgm:presOf/>
          <dgm:layoutNode name="text_5" styleLbl="revTx">
            <dgm:varLst>
              <dgm:bulletEnabled val="1"/>
            </dgm:varLst>
            <dgm:choose name="Name64">
              <dgm:if name="Name65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66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67" axis="ch" ptType="sibTrans" hideLastTrans="0" st="6" cnt="1">
        <dgm:layoutNode name="picture_6">
          <dgm:alg type="sp"/>
          <dgm:shape xmlns:r="http://schemas.openxmlformats.org/officeDocument/2006/relationships" r:blip="">
            <dgm:adjLst/>
          </dgm:shape>
          <dgm:presOf/>
          <dgm:constrLst/>
          <dgm:forEach name="Name68" ref="pictureRepeat"/>
        </dgm:layoutNode>
      </dgm:forEach>
      <dgm:forEach name="Name69" axis="ch" ptType="node" st="6" cnt="1">
        <dgm:layoutNode name="line_6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6">
          <dgm:choose name="Name70">
            <dgm:if name="Name71" func="var" arg="dir" op="equ" val="norm">
              <dgm:alg type="lin">
                <dgm:param type="horzAlign" val="l"/>
              </dgm:alg>
            </dgm:if>
            <dgm:else name="Name72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6" refType="w"/>
            <dgm:constr type="h" for="ch" forName="text_6" refType="h"/>
          </dgm:constrLst>
          <dgm:presOf/>
          <dgm:layoutNode name="text_6" styleLbl="revTx">
            <dgm:varLst>
              <dgm:bulletEnabled val="1"/>
            </dgm:varLst>
            <dgm:choose name="Name73">
              <dgm:if name="Name74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75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  <dgm:forEach name="Name76" axis="ch" ptType="sibTrans" hideLastTrans="0" st="7" cnt="1">
        <dgm:layoutNode name="picture_7">
          <dgm:alg type="sp"/>
          <dgm:shape xmlns:r="http://schemas.openxmlformats.org/officeDocument/2006/relationships" r:blip="">
            <dgm:adjLst/>
          </dgm:shape>
          <dgm:presOf/>
          <dgm:constrLst/>
          <dgm:forEach name="Name77" ref="pictureRepeat"/>
        </dgm:layoutNode>
      </dgm:forEach>
      <dgm:forEach name="Name78" axis="ch" ptType="node" st="7" cnt="1">
        <dgm:layoutNode name="line_7" styleLbl="parChTrans1D1">
          <dgm:alg type="sp"/>
          <dgm:shape xmlns:r="http://schemas.openxmlformats.org/officeDocument/2006/relationships" type="line" r:blip="" zOrderOff="-100">
            <dgm:adjLst/>
          </dgm:shape>
          <dgm:presOf/>
        </dgm:layoutNode>
        <dgm:layoutNode name="textparent_7">
          <dgm:choose name="Name79">
            <dgm:if name="Name80" func="var" arg="dir" op="equ" val="norm">
              <dgm:alg type="lin">
                <dgm:param type="horzAlign" val="l"/>
              </dgm:alg>
            </dgm:if>
            <dgm:else name="Name81">
              <dgm:alg type="lin">
                <dgm:param type="horzAlign" val="r"/>
              </dgm:alg>
            </dgm:else>
          </dgm:choose>
          <dgm:shape xmlns:r="http://schemas.openxmlformats.org/officeDocument/2006/relationships" type="rect" r:blip="" hideGeom="1">
            <dgm:adjLst/>
          </dgm:shape>
          <dgm:constrLst>
            <dgm:constr type="userW" for="ch" forName="text_7" refType="w"/>
            <dgm:constr type="h" for="ch" forName="text_7" refType="h"/>
          </dgm:constrLst>
          <dgm:presOf/>
          <dgm:layoutNode name="text_7" styleLbl="revTx">
            <dgm:varLst>
              <dgm:bulletEnabled val="1"/>
            </dgm:varLst>
            <dgm:choose name="Name82">
              <dgm:if name="Name83" func="var" arg="dir" op="equ" val="norm">
                <dgm:alg type="tx">
                  <dgm:param type="parTxLTRAlign" val="l"/>
                  <dgm:param type="shpTxLTRAlignCh" val="l"/>
                  <dgm:param type="parTxRTLAlign" val="r"/>
                  <dgm:param type="shpTxRTLAlignCh" val="r"/>
                </dgm:alg>
              </dgm:if>
              <dgm:else name="Name84">
                <dgm:alg type="tx"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userW"/>
              <dgm:constr type="w" refType="userW" fact="0.1"/>
              <dgm:constr type="lMarg" refType="primFontSz" fact="0.3"/>
              <dgm:constr type="rMarg" refType="primFontSz" fact="0.3"/>
              <dgm:constr type="tMarg"/>
              <dgm:constr type="bMarg"/>
            </dgm:constrLst>
            <dgm:ruleLst>
              <dgm:rule type="w" val="NaN" fact="1" max="NaN"/>
              <dgm:rule type="primFontSz" val="5" fact="NaN" max="NaN"/>
            </dgm:ruleLst>
          </dgm:layoutNode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ru-RU" smtClean="0"/>
              <a:t>1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445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19A5FDA-3ABD-4F5A-A8E1-3EACD844AA0E}" type="datetime1">
              <a:rPr lang="ru-RU" smtClean="0"/>
              <a:t>22.09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5625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4450" y="9445625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B21B72-D5D6-4B25-81DB-AB85CA740B6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5868871"/>
      </p:ext>
    </p:extLst>
  </p:cSld>
  <p:clrMap bg1="lt1" tx1="dk1" bg2="lt2" tx2="dk2" accent1="accent1" accent2="accent2" accent3="accent3" accent4="accent4" accent5="accent5" accent6="accent6" hlink="hlink" folHlink="folHlink"/>
  <p:hf sldNum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40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EAABCD87-94AF-4B5B-BAF1-F5284FE899C7}" type="datetime1">
              <a:rPr lang="ru-RU" smtClean="0"/>
              <a:t>22.09.2019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3" y="4785598"/>
            <a:ext cx="5444490" cy="3915489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40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9447256E-483B-4BC1-BFF8-D2418426C52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23270089"/>
      </p:ext>
    </p:extLst>
  </p:cSld>
  <p:clrMap bg1="lt1" tx1="dk1" bg2="lt2" tx2="dk2" accent1="accent1" accent2="accent2" accent3="accent3" accent4="accent4" accent5="accent5" accent6="accent6" hlink="hlink" folHlink="folHlink"/>
  <p:hf sldNum="0"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F834F1D5-33B3-480A-A4E8-311841A67364}" type="datetime1">
              <a:rPr lang="ru-RU" smtClean="0"/>
              <a:t>22.09.20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5788843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fld id="{4455C514-E899-479F-879B-9AF287D8C535}" type="datetime1">
              <a:rPr lang="ru-RU" smtClean="0"/>
              <a:t>22.09.20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24426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я серии «Функциональная грамотность. Тренажёр» помогают формировать умение осознанно использовать полученные в ходе обучения знания для решения жизненных задач, развивают активность и самостоятельность учащихся, вовлекают их в поисковую и познавательную деятельность. </a:t>
            </a:r>
          </a:p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пособиях содержатся разнообразные практико-ориентированные задания, поиск решения которых позволит школьникам подготовиться к участию в международных исследованиях качества образования, приведены примеры их решений и ответы. </a:t>
            </a:r>
          </a:p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я серии могут использоваться учителями математики, русского языка, обществознания, биологии, физики и химии на уроках и во внеурочной деятельности, а также родителями и школьниками.</a:t>
            </a:r>
          </a:p>
          <a:p>
            <a:endParaRPr lang="ru-RU" sz="100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indent="288000"/>
            <a:r>
              <a:rPr lang="ru-RU" sz="10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Более подробно о пособиях: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Учебное пособие «Математика на каждый день» предназначено для учащихся 6‒8 классов. Задачи, включённые в сборник, направлены на совершенствование навыков применения полученных учащимися теоретических знаний по математике в жизненных ситуациях. 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анное пособие поможет учителям понять систему построения задач международных исследований, в частности ― на проверку математической грамотности школьников. А это способность рассуждать логически и убедительно формулировать проблемы реального мира на языке математики, применять математические знания для решения проблемы и интерпретировать получившийся математический результат с переходом на контекст задачи. 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е также поможет учителю в создании условий для поиска оригинальных решений поставленных задач, а ученику ― решать важные жизненные проблемы.</a:t>
            </a:r>
          </a:p>
          <a:p>
            <a:endParaRPr lang="ru-RU" sz="1000" i="0" dirty="0"/>
          </a:p>
          <a:p>
            <a:pPr indent="287970"/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B8D61484-6B9C-49E4-88AB-7D80EFC1B4CF}" type="datetime1">
              <a:rPr lang="ru-RU" smtClean="0"/>
              <a:t>22.09.20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420431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я серии «Функциональная грамотность. Тренажёр» помогают формировать умение осознанно использовать полученные в ходе обучения знания для решения жизненных задач, развивают активность и самостоятельность учащихся, вовлекают их в поисковую и познавательную деятельность. </a:t>
            </a:r>
          </a:p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пособиях содержатся разнообразные практико-ориентированные задания, поиск решения которых позволит школьникам подготовиться к участию в международных исследованиях качества образования, приведены примеры их решений и ответы. </a:t>
            </a:r>
          </a:p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я серии могут использоваться учителями математики, русского языка, обществознания, биологии, физики и химии на уроках и во внеурочной деятельности, а также родителями и школьниками.</a:t>
            </a:r>
          </a:p>
          <a:p>
            <a:endParaRPr lang="ru-RU" sz="100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indent="288000"/>
            <a:r>
              <a:rPr lang="ru-RU" sz="10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Более подробно о пособиях: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Учебное пособие «Математика на каждый день» предназначено для учащихся 6‒8 классов. Задачи, включённые в сборник, направлены на совершенствование навыков применения полученных учащимися теоретических знаний по математике в жизненных ситуациях. 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анное пособие поможет учителям понять систему построения задач международных исследований, в частности ― на проверку математической грамотности школьников. А это способность рассуждать логически и убедительно формулировать проблемы реального мира на языке математики, применять математические знания для решения проблемы и интерпретировать получившийся математический результат с переходом на контекст задачи. 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е также поможет учителю в создании условий для поиска оригинальных решений поставленных задач, а ученику ― решать важные жизненные проблемы.</a:t>
            </a:r>
          </a:p>
          <a:p>
            <a:endParaRPr lang="ru-RU" sz="1000" i="0" dirty="0"/>
          </a:p>
          <a:p>
            <a:pPr indent="287970"/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FA26F88D-531B-44D5-84D5-D31C9CB7BDC4}" type="datetime1">
              <a:rPr lang="ru-RU" smtClean="0"/>
              <a:t>22.09.20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2908970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 defTabSz="914306">
              <a:defRPr/>
            </a:pPr>
            <a:r>
              <a:rPr lang="ru-RU" dirty="0"/>
              <a:t>Издательством выпущен курс «Основы финансовой грамотности» коллектива авторов</a:t>
            </a:r>
            <a:r>
              <a:rPr lang="ru-RU" baseline="0" dirty="0"/>
              <a:t> </a:t>
            </a:r>
            <a:r>
              <a:rPr lang="ru-RU" dirty="0"/>
              <a:t>Российская экономическая школа. Он</a:t>
            </a:r>
            <a:r>
              <a:rPr lang="ru-RU" baseline="0" dirty="0"/>
              <a:t> </a:t>
            </a:r>
            <a:r>
              <a:rPr lang="ru-RU" dirty="0"/>
              <a:t>является составной частью учебно-методического комплекта по курсам «Обществознание» и «Экономика». Пособие содержит методические рекомендации по организации и проведению уроков. УМК прошёл предварительную экспертизу в Российской академии образования и может быть использован в образовательной программе </a:t>
            </a:r>
            <a:r>
              <a:rPr lang="ru-RU" dirty="0">
                <a:solidFill>
                  <a:srgbClr val="FF0000"/>
                </a:solidFill>
              </a:rPr>
              <a:t>среднего общего образования </a:t>
            </a:r>
            <a:r>
              <a:rPr lang="ru-RU" dirty="0"/>
              <a:t>(8-9 класс).</a:t>
            </a:r>
          </a:p>
          <a:p>
            <a:pPr indent="287970"/>
            <a:r>
              <a:rPr lang="ru-RU" b="1" dirty="0"/>
              <a:t>УМК простым и ясным языком освещает вопросы:</a:t>
            </a:r>
            <a:endParaRPr lang="ru-RU" dirty="0"/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Личное финансовое планирование, расходы и доходы семь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ак сохранить и преумножить сбережен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редитование и возможные риск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Мобильные платежи и защита от мошенников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Страхование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Налог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Пенс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Защита от финансовых махинаций</a:t>
            </a: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BA16CB4-D695-4AC0-A0BD-C5D592F89335}" type="datetime1">
              <a:rPr lang="ru-RU" smtClean="0"/>
              <a:t>22.09.20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2573840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 defTabSz="914306">
              <a:defRPr/>
            </a:pPr>
            <a:r>
              <a:rPr lang="ru-RU" dirty="0"/>
              <a:t>Издательством выпущен курс «Основы финансовой грамотности» коллектива авторов</a:t>
            </a:r>
            <a:r>
              <a:rPr lang="ru-RU" baseline="0" dirty="0"/>
              <a:t> </a:t>
            </a:r>
            <a:r>
              <a:rPr lang="ru-RU" dirty="0"/>
              <a:t>Российская экономическая школа. Он</a:t>
            </a:r>
            <a:r>
              <a:rPr lang="ru-RU" baseline="0" dirty="0"/>
              <a:t> </a:t>
            </a:r>
            <a:r>
              <a:rPr lang="ru-RU" dirty="0"/>
              <a:t>является составной частью учебно-методического комплекта по курсам «Обществознание» и «Экономика». Пособие содержит методические рекомендации по организации и проведению уроков. УМК прошёл предварительную экспертизу в Российской академии образования и может быть использован в образовательной программе </a:t>
            </a:r>
            <a:r>
              <a:rPr lang="ru-RU" dirty="0">
                <a:solidFill>
                  <a:srgbClr val="FF0000"/>
                </a:solidFill>
              </a:rPr>
              <a:t>среднего общего образования </a:t>
            </a:r>
            <a:r>
              <a:rPr lang="ru-RU" dirty="0"/>
              <a:t>(8-9 класс).</a:t>
            </a:r>
          </a:p>
          <a:p>
            <a:pPr indent="287970"/>
            <a:r>
              <a:rPr lang="ru-RU" b="1" dirty="0"/>
              <a:t>УМК простым и ясным языком освещает вопросы:</a:t>
            </a:r>
            <a:endParaRPr lang="ru-RU" dirty="0"/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Личное финансовое планирование, расходы и доходы семь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ак сохранить и преумножить сбережен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редитование и возможные риск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Мобильные платежи и защита от мошенников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Страхование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Налог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Пенс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Защита от финансовых махинаций</a:t>
            </a: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02FEB2F6-545A-4670-B897-4E5B0FC35E41}" type="datetime1">
              <a:rPr lang="ru-RU" smtClean="0"/>
              <a:t>22.09.20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2417246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 defTabSz="914306">
              <a:defRPr/>
            </a:pPr>
            <a:r>
              <a:rPr lang="ru-RU" dirty="0"/>
              <a:t>Издательством выпущен курс «Основы финансовой грамотности» коллектива авторов</a:t>
            </a:r>
            <a:r>
              <a:rPr lang="ru-RU" baseline="0" dirty="0"/>
              <a:t> </a:t>
            </a:r>
            <a:r>
              <a:rPr lang="ru-RU" dirty="0"/>
              <a:t>Российская экономическая школа. Он</a:t>
            </a:r>
            <a:r>
              <a:rPr lang="ru-RU" baseline="0" dirty="0"/>
              <a:t> </a:t>
            </a:r>
            <a:r>
              <a:rPr lang="ru-RU" dirty="0"/>
              <a:t>является составной частью учебно-методического комплекта по курсам «Обществознание» и «Экономика». Пособие содержит методические рекомендации по организации и проведению уроков. УМК прошёл предварительную экспертизу в Российской академии образования и может быть использован в образовательной программе </a:t>
            </a:r>
            <a:r>
              <a:rPr lang="ru-RU" dirty="0">
                <a:solidFill>
                  <a:srgbClr val="FF0000"/>
                </a:solidFill>
              </a:rPr>
              <a:t>среднего общего образования </a:t>
            </a:r>
            <a:r>
              <a:rPr lang="ru-RU" dirty="0"/>
              <a:t>(8-9 класс).</a:t>
            </a:r>
          </a:p>
          <a:p>
            <a:pPr indent="287970"/>
            <a:r>
              <a:rPr lang="ru-RU" b="1" dirty="0"/>
              <a:t>УМК простым и ясным языком освещает вопросы:</a:t>
            </a:r>
            <a:endParaRPr lang="ru-RU" dirty="0"/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Личное финансовое планирование, расходы и доходы семь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ак сохранить и преумножить сбережен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редитование и возможные риск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Мобильные платежи и защита от мошенников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Страхование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Налог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Пенс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Защита от финансовых махинаций</a:t>
            </a: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E1567232-3087-46B5-AC68-DAC877C618A8}" type="datetime1">
              <a:rPr lang="ru-RU" smtClean="0"/>
              <a:t>22.09.20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9752685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 defTabSz="914306">
              <a:defRPr/>
            </a:pPr>
            <a:r>
              <a:rPr lang="ru-RU" dirty="0"/>
              <a:t>Издательством выпущен курс «Основы финансовой грамотности» коллектива авторов</a:t>
            </a:r>
            <a:r>
              <a:rPr lang="ru-RU" baseline="0" dirty="0"/>
              <a:t> </a:t>
            </a:r>
            <a:r>
              <a:rPr lang="ru-RU" dirty="0"/>
              <a:t>Российская экономическая школа. Он</a:t>
            </a:r>
            <a:r>
              <a:rPr lang="ru-RU" baseline="0" dirty="0"/>
              <a:t> </a:t>
            </a:r>
            <a:r>
              <a:rPr lang="ru-RU" dirty="0"/>
              <a:t>является составной частью учебно-методического комплекта по курсам «Обществознание» и «Экономика». Пособие содержит методические рекомендации по организации и проведению уроков. УМК прошёл предварительную экспертизу в Российской академии образования и может быть использован в образовательной программе </a:t>
            </a:r>
            <a:r>
              <a:rPr lang="ru-RU" dirty="0">
                <a:solidFill>
                  <a:srgbClr val="FF0000"/>
                </a:solidFill>
              </a:rPr>
              <a:t>среднего общего образования </a:t>
            </a:r>
            <a:r>
              <a:rPr lang="ru-RU" dirty="0"/>
              <a:t>(8-9 класс).</a:t>
            </a:r>
          </a:p>
          <a:p>
            <a:pPr indent="287970"/>
            <a:r>
              <a:rPr lang="ru-RU" b="1" dirty="0"/>
              <a:t>УМК простым и ясным языком освещает вопросы:</a:t>
            </a:r>
            <a:endParaRPr lang="ru-RU" dirty="0"/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Личное финансовое планирование, расходы и доходы семь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ак сохранить и преумножить сбережен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редитование и возможные риск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Мобильные платежи и защита от мошенников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Страхование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Налог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Пенс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Защита от финансовых махинаций</a:t>
            </a: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998964F3-C067-4A66-8722-93E1EA6179D9}" type="datetime1">
              <a:rPr lang="ru-RU" smtClean="0"/>
              <a:t>22.09.20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7864365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 defTabSz="914306">
              <a:defRPr/>
            </a:pPr>
            <a:r>
              <a:rPr lang="ru-RU" dirty="0"/>
              <a:t>Издательством выпущен курс «Основы финансовой грамотности» коллектива авторов</a:t>
            </a:r>
            <a:r>
              <a:rPr lang="ru-RU" baseline="0" dirty="0"/>
              <a:t> </a:t>
            </a:r>
            <a:r>
              <a:rPr lang="ru-RU" dirty="0"/>
              <a:t>Российская экономическая школа. Он</a:t>
            </a:r>
            <a:r>
              <a:rPr lang="ru-RU" baseline="0" dirty="0"/>
              <a:t> </a:t>
            </a:r>
            <a:r>
              <a:rPr lang="ru-RU" dirty="0"/>
              <a:t>является составной частью учебно-методического комплекта по курсам «Обществознание» и «Экономика». Пособие содержит методические рекомендации по организации и проведению уроков. УМК прошёл предварительную экспертизу в Российской академии образования и может быть использован в образовательной программе </a:t>
            </a:r>
            <a:r>
              <a:rPr lang="ru-RU" dirty="0">
                <a:solidFill>
                  <a:srgbClr val="FF0000"/>
                </a:solidFill>
              </a:rPr>
              <a:t>среднего общего образования </a:t>
            </a:r>
            <a:r>
              <a:rPr lang="ru-RU" dirty="0"/>
              <a:t>(8-9 класс).</a:t>
            </a:r>
          </a:p>
          <a:p>
            <a:pPr indent="287970"/>
            <a:r>
              <a:rPr lang="ru-RU" b="1" dirty="0"/>
              <a:t>УМК простым и ясным языком освещает вопросы:</a:t>
            </a:r>
            <a:endParaRPr lang="ru-RU" dirty="0"/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Личное финансовое планирование, расходы и доходы семь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ак сохранить и преумножить сбережен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редитование и возможные риск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Мобильные платежи и защита от мошенников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Страхование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Налог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Пенс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Защита от финансовых махинаций</a:t>
            </a: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DCDA3A1B-6957-446D-A75F-1E70975D6090}" type="datetime1">
              <a:rPr lang="ru-RU" smtClean="0"/>
              <a:t>22.09.20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8257593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 defTabSz="914306">
              <a:defRPr/>
            </a:pPr>
            <a:r>
              <a:rPr lang="ru-RU" dirty="0"/>
              <a:t>Издательством выпущен курс «Основы финансовой грамотности» коллектива авторов</a:t>
            </a:r>
            <a:r>
              <a:rPr lang="ru-RU" baseline="0" dirty="0"/>
              <a:t> </a:t>
            </a:r>
            <a:r>
              <a:rPr lang="ru-RU" dirty="0"/>
              <a:t>Российская экономическая школа. Он</a:t>
            </a:r>
            <a:r>
              <a:rPr lang="ru-RU" baseline="0" dirty="0"/>
              <a:t> </a:t>
            </a:r>
            <a:r>
              <a:rPr lang="ru-RU" dirty="0"/>
              <a:t>является составной частью учебно-методического комплекта по курсам «Обществознание» и «Экономика». Пособие содержит методические рекомендации по организации и проведению уроков. УМК прошёл предварительную экспертизу в Российской академии образования и может быть использован в образовательной программе </a:t>
            </a:r>
            <a:r>
              <a:rPr lang="ru-RU" dirty="0">
                <a:solidFill>
                  <a:srgbClr val="FF0000"/>
                </a:solidFill>
              </a:rPr>
              <a:t>среднего общего образования </a:t>
            </a:r>
            <a:r>
              <a:rPr lang="ru-RU" dirty="0"/>
              <a:t>(8-9 класс).</a:t>
            </a:r>
          </a:p>
          <a:p>
            <a:pPr indent="287970"/>
            <a:r>
              <a:rPr lang="ru-RU" b="1" dirty="0"/>
              <a:t>УМК простым и ясным языком освещает вопросы:</a:t>
            </a:r>
            <a:endParaRPr lang="ru-RU" dirty="0"/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Личное финансовое планирование, расходы и доходы семь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ак сохранить и преумножить сбережен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редитование и возможные риск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Мобильные платежи и защита от мошенников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Страхование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Налог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Пенс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Защита от финансовых махинаций</a:t>
            </a: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6F9092B0-3572-41E5-ACB1-B45717419603}" type="datetime1">
              <a:rPr lang="ru-RU" smtClean="0"/>
              <a:t>22.09.20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6443400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8000"/>
            <a:r>
              <a:rPr lang="ru-RU" sz="1800" dirty="0"/>
              <a:t>Формирование социально активной личности, сознательно и деятельно участвующей в деятельности, направленной на преобразование социальных условий, – необходимое условие создания гражданского общества и правового государства.</a:t>
            </a:r>
          </a:p>
          <a:p>
            <a:pPr indent="288000"/>
            <a:r>
              <a:rPr lang="ru-RU" sz="1800" dirty="0"/>
              <a:t>Наши учебные издания помогут вам подготовить людей, способных с пользой участвовать в преобразование сферы социальных отношений.</a:t>
            </a:r>
          </a:p>
          <a:p>
            <a:pPr indent="288000"/>
            <a:r>
              <a:rPr lang="ru-RU" sz="1800" dirty="0"/>
              <a:t>Обращаем ваше особое внимание на такие новые проекты, как</a:t>
            </a:r>
          </a:p>
          <a:p>
            <a:pPr indent="288000"/>
            <a:r>
              <a:rPr lang="ru-RU" sz="1800" dirty="0"/>
              <a:t>- Экология</a:t>
            </a:r>
          </a:p>
          <a:p>
            <a:pPr indent="288000"/>
            <a:r>
              <a:rPr lang="ru-RU" sz="1800" dirty="0"/>
              <a:t>- Лидерство</a:t>
            </a:r>
          </a:p>
          <a:p>
            <a:pPr indent="288000"/>
            <a:r>
              <a:rPr lang="ru-RU" sz="1800" dirty="0"/>
              <a:t>- Волонтёрство, а также проект «Право «Просвещение», который оказывает правовую поддержку школам и педагогам</a:t>
            </a:r>
          </a:p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648F52C9-DC5B-46C3-93BE-8BD8D1CF841E}" type="datetime1">
              <a:rPr lang="ru-RU" smtClean="0"/>
              <a:t>22.09.20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138198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– педагогических и информационных, –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–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–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t>22.09.20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4163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6507618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1ADD950F-4718-4BFC-B9E0-69B49DFC71DA}" type="datetime1">
              <a:rPr lang="ru-RU" smtClean="0"/>
              <a:t>22.09.20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300269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fld id="{A05E6458-3F23-4BB8-8927-4CF002F6693B}" type="datetime1">
              <a:rPr lang="ru-RU" smtClean="0"/>
              <a:t>22.09.20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07955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fld id="{30C6EAE5-F4E0-42F4-B555-7EACBFF94179}" type="datetime1">
              <a:rPr lang="ru-RU" smtClean="0"/>
              <a:t>22.09.20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312081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6002E3F6-8D60-4247-BBA3-9C7DC97B6E68}" type="datetime1">
              <a:rPr lang="ru-RU" smtClean="0"/>
              <a:t>22.09.20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115485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defTabSz="865415"/>
            <a:endParaRPr lang="ru-RU" b="0" dirty="0">
              <a:solidFill>
                <a:schemeClr val="bg1"/>
              </a:solidFill>
            </a:endParaRPr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B32DD9FE-5FB0-4B08-98A1-3759FF442E5B}" type="datetime1">
              <a:rPr lang="ru-RU" smtClean="0"/>
              <a:t>22.09.20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1962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fld id="{BB47362D-FE5A-4A91-AE50-71A341E7497B}" type="datetime1">
              <a:rPr lang="ru-RU" smtClean="0"/>
              <a:t>22.09.20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598571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fld id="{73B6565E-B334-4A64-BADA-C56DA8B59DDC}" type="datetime1">
              <a:rPr lang="ru-RU" smtClean="0"/>
              <a:t>22.09.20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5072466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fld id="{60B212FF-64EE-4B1E-93F4-6D09F2028D59}" type="datetime1">
              <a:rPr lang="ru-RU" smtClean="0"/>
              <a:t>22.09.20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219301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ti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68353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688571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49178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4147663" y="6377941"/>
            <a:ext cx="3903683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609949" y="6377941"/>
            <a:ext cx="2805771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235216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Линия"/>
          <p:cNvSpPr/>
          <p:nvPr/>
        </p:nvSpPr>
        <p:spPr>
          <a:xfrm>
            <a:off x="5924339" y="880580"/>
            <a:ext cx="212637" cy="527711"/>
          </a:xfrm>
          <a:prstGeom prst="line">
            <a:avLst/>
          </a:prstGeom>
          <a:ln w="254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sp>
        <p:nvSpPr>
          <p:cNvPr id="21" name="Линия"/>
          <p:cNvSpPr/>
          <p:nvPr/>
        </p:nvSpPr>
        <p:spPr>
          <a:xfrm flipH="1">
            <a:off x="6055025" y="880580"/>
            <a:ext cx="212637" cy="527711"/>
          </a:xfrm>
          <a:prstGeom prst="line">
            <a:avLst/>
          </a:prstGeom>
          <a:ln w="254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sp>
        <p:nvSpPr>
          <p:cNvPr id="22" name="Линия"/>
          <p:cNvSpPr/>
          <p:nvPr/>
        </p:nvSpPr>
        <p:spPr>
          <a:xfrm flipH="1">
            <a:off x="6010376" y="880580"/>
            <a:ext cx="212637" cy="527711"/>
          </a:xfrm>
          <a:prstGeom prst="line">
            <a:avLst/>
          </a:prstGeom>
          <a:ln w="127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sp>
        <p:nvSpPr>
          <p:cNvPr id="23" name="Линия"/>
          <p:cNvSpPr/>
          <p:nvPr/>
        </p:nvSpPr>
        <p:spPr>
          <a:xfrm>
            <a:off x="5776306" y="1279922"/>
            <a:ext cx="639390" cy="1"/>
          </a:xfrm>
          <a:prstGeom prst="line">
            <a:avLst/>
          </a:prstGeom>
          <a:ln w="127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pic>
        <p:nvPicPr>
          <p:cNvPr id="12" name="pasted-image.tiff" descr="pasted-image.tiff"/>
          <p:cNvPicPr>
            <a:picLocks noChangeAspect="1"/>
          </p:cNvPicPr>
          <p:nvPr userDrawn="1"/>
        </p:nvPicPr>
        <p:blipFill>
          <a:blip r:embed="rId2">
            <a:biLevel thresh="25000"/>
            <a:extLst/>
          </a:blip>
          <a:srcRect l="39743" r="39743" b="36077"/>
          <a:stretch>
            <a:fillRect/>
          </a:stretch>
        </p:blipFill>
        <p:spPr>
          <a:xfrm>
            <a:off x="11771619" y="1"/>
            <a:ext cx="318781" cy="33340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342388550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775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56181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48370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70082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849566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117364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887308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48858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40683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0" name="Слайд think-cell" r:id="rId18" imgW="359" imgH="360" progId="TCLayout.ActiveDocument.1">
                  <p:embed/>
                </p:oleObj>
              </mc:Choice>
              <mc:Fallback>
                <p:oleObj name="Слайд think-cell" r:id="rId18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0636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.xml"/><Relationship Id="rId7" Type="http://schemas.openxmlformats.org/officeDocument/2006/relationships/oleObject" Target="../embeddings/oleObject2.bin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.xml"/><Relationship Id="rId7" Type="http://schemas.openxmlformats.org/officeDocument/2006/relationships/oleObject" Target="../embeddings/oleObject6.bin"/><Relationship Id="rId12" Type="http://schemas.openxmlformats.org/officeDocument/2006/relationships/image" Target="../media/image23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9.png"/><Relationship Id="rId11" Type="http://schemas.openxmlformats.org/officeDocument/2006/relationships/image" Target="../media/image22.png"/><Relationship Id="rId5" Type="http://schemas.openxmlformats.org/officeDocument/2006/relationships/image" Target="../media/image18.png"/><Relationship Id="rId10" Type="http://schemas.openxmlformats.org/officeDocument/2006/relationships/image" Target="../media/image21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5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7.png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10" Type="http://schemas.openxmlformats.org/officeDocument/2006/relationships/image" Target="../media/image30.jpg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2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1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7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3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Layout" Target="../slideLayouts/slideLayout2.xml"/><Relationship Id="rId7" Type="http://schemas.openxmlformats.org/officeDocument/2006/relationships/hyperlink" Target="https://edu.gov.ru/national-project/" TargetMode="Externa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6.jpe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5.jpeg"/></Relationships>
</file>

<file path=ppt/slides/_rels/slide20.xml.rels><?xml version="1.0" encoding="UTF-8" standalone="yes"?>
<Relationships xmlns="http://schemas.openxmlformats.org/package/2006/relationships"><Relationship Id="rId13" Type="http://schemas.openxmlformats.org/officeDocument/2006/relationships/image" Target="../media/image92.svg"/><Relationship Id="rId18" Type="http://schemas.openxmlformats.org/officeDocument/2006/relationships/diagramData" Target="../diagrams/data1.xml"/><Relationship Id="rId26" Type="http://schemas.openxmlformats.org/officeDocument/2006/relationships/diagramColors" Target="../diagrams/colors2.xml"/><Relationship Id="rId3" Type="http://schemas.openxmlformats.org/officeDocument/2006/relationships/slideLayout" Target="../slideLayouts/slideLayout2.xml"/><Relationship Id="rId21" Type="http://schemas.openxmlformats.org/officeDocument/2006/relationships/diagramColors" Target="../diagrams/colors1.xml"/><Relationship Id="rId7" Type="http://schemas.openxmlformats.org/officeDocument/2006/relationships/image" Target="../media/image35.png"/><Relationship Id="rId17" Type="http://schemas.openxmlformats.org/officeDocument/2006/relationships/image" Target="../media/image37.jpeg"/><Relationship Id="rId25" Type="http://schemas.openxmlformats.org/officeDocument/2006/relationships/diagramQuickStyle" Target="../diagrams/quickStyle2.xml"/><Relationship Id="rId2" Type="http://schemas.openxmlformats.org/officeDocument/2006/relationships/tags" Target="../tags/tag17.xml"/><Relationship Id="rId16" Type="http://schemas.openxmlformats.org/officeDocument/2006/relationships/image" Target="../media/image36.png"/><Relationship Id="rId20" Type="http://schemas.openxmlformats.org/officeDocument/2006/relationships/diagramQuickStyle" Target="../diagrams/quickStyle1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24" Type="http://schemas.openxmlformats.org/officeDocument/2006/relationships/diagramLayout" Target="../diagrams/layout2.xml"/><Relationship Id="rId5" Type="http://schemas.openxmlformats.org/officeDocument/2006/relationships/oleObject" Target="../embeddings/oleObject8.bin"/><Relationship Id="rId15" Type="http://schemas.openxmlformats.org/officeDocument/2006/relationships/image" Target="../media/image16.svg"/><Relationship Id="rId23" Type="http://schemas.openxmlformats.org/officeDocument/2006/relationships/diagramData" Target="../diagrams/data2.xml"/><Relationship Id="rId19" Type="http://schemas.openxmlformats.org/officeDocument/2006/relationships/diagramLayout" Target="../diagrams/layout1.xml"/><Relationship Id="rId4" Type="http://schemas.openxmlformats.org/officeDocument/2006/relationships/notesSlide" Target="../notesSlides/notesSlide19.xml"/><Relationship Id="rId22" Type="http://schemas.microsoft.com/office/2007/relationships/diagramDrawing" Target="../diagrams/drawing1.xml"/><Relationship Id="rId27" Type="http://schemas.microsoft.com/office/2007/relationships/diagramDrawing" Target="../diagrams/drawing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image" Target="../media/image40.png"/><Relationship Id="rId7" Type="http://schemas.openxmlformats.org/officeDocument/2006/relationships/image" Target="../media/image43.gif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shop.prosv.ru/formirovanie-funkcionalnoj-gramotnosti-sbornik-zadach-po-russkomu-yazyku-dlya-8-11-klassov2781" TargetMode="External"/><Relationship Id="rId5" Type="http://schemas.openxmlformats.org/officeDocument/2006/relationships/image" Target="../media/image42.jpeg"/><Relationship Id="rId10" Type="http://schemas.openxmlformats.org/officeDocument/2006/relationships/image" Target="../media/image46.png"/><Relationship Id="rId4" Type="http://schemas.openxmlformats.org/officeDocument/2006/relationships/image" Target="../media/image41.png"/><Relationship Id="rId9" Type="http://schemas.openxmlformats.org/officeDocument/2006/relationships/image" Target="../media/image4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prosv.ru/" TargetMode="Externa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3.gif"/><Relationship Id="rId5" Type="http://schemas.openxmlformats.org/officeDocument/2006/relationships/hyperlink" Target="https://shop.prosv.ru/formirovanie-funkcionalnoj-gramotnosti-sbornik-zadach-po-russkomu-yazyku-dlya-8-11-klassov2781" TargetMode="External"/><Relationship Id="rId4" Type="http://schemas.openxmlformats.org/officeDocument/2006/relationships/hyperlink" Target="mailto:vopros@prosv.ru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8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0.jpe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10" Type="http://schemas.openxmlformats.org/officeDocument/2006/relationships/image" Target="../media/image12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Рисунок 2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39"/>
          <a:stretch/>
        </p:blipFill>
        <p:spPr>
          <a:xfrm>
            <a:off x="-7293" y="14514"/>
            <a:ext cx="12199293" cy="6843486"/>
          </a:xfrm>
          <a:prstGeom prst="rect">
            <a:avLst/>
          </a:prstGeom>
        </p:spPr>
      </p:pic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7970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8" name="Слайд think-cell" r:id="rId7" imgW="359" imgH="360" progId="TCLayout.ActiveDocument.1">
                  <p:embed/>
                </p:oleObj>
              </mc:Choice>
              <mc:Fallback>
                <p:oleObj name="Слайд think-cell" r:id="rId7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D63DCCC5-C5C7-4939-A893-4A4DB73304DC}"/>
              </a:ext>
            </a:extLst>
          </p:cNvPr>
          <p:cNvSpPr/>
          <p:nvPr/>
        </p:nvSpPr>
        <p:spPr>
          <a:xfrm rot="10800000">
            <a:off x="-7293" y="14514"/>
            <a:ext cx="12192000" cy="6858000"/>
          </a:xfrm>
          <a:prstGeom prst="rect">
            <a:avLst/>
          </a:prstGeom>
          <a:gradFill>
            <a:gsLst>
              <a:gs pos="0">
                <a:srgbClr val="00B0F0">
                  <a:alpha val="70000"/>
                </a:srgbClr>
              </a:gs>
              <a:gs pos="88000">
                <a:srgbClr val="2D2B8D">
                  <a:alpha val="70000"/>
                </a:srgb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384116" y="4634394"/>
            <a:ext cx="10216392" cy="292388"/>
          </a:xfrm>
        </p:spPr>
        <p:txBody>
          <a:bodyPr lIns="0" tIns="0" rIns="0" bIns="0">
            <a:spAutoFit/>
          </a:bodyPr>
          <a:lstStyle/>
          <a:p>
            <a:pPr algn="l">
              <a:lnSpc>
                <a:spcPct val="95000"/>
              </a:lnSpc>
            </a:pPr>
            <a:r>
              <a:rPr lang="ru-RU" sz="20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РУППА </a:t>
            </a:r>
            <a:r>
              <a:rPr lang="ru-RU" sz="20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ОМПАНИЙ «ПРОСВЕЩЕНИЕ» —</a:t>
            </a:r>
            <a:r>
              <a:rPr lang="ru-RU" sz="20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ru-RU" sz="2000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ИСТЕМЕ ОБРАЗОВАНИЯ</a:t>
            </a:r>
            <a:endParaRPr lang="ru-RU" sz="20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13720" y="1567301"/>
            <a:ext cx="8749705" cy="2769989"/>
          </a:xfrm>
        </p:spPr>
        <p:txBody>
          <a:bodyPr wrap="square" lIns="0" tIns="0" rIns="0" bIns="0">
            <a:spAutoFit/>
          </a:bodyPr>
          <a:lstStyle/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ru-RU" sz="45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ункциональная грамотность </a:t>
            </a:r>
            <a:r>
              <a:rPr lang="ru-RU" sz="45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школьников</a:t>
            </a:r>
            <a:endParaRPr lang="en-US" sz="4500" b="1" dirty="0" smtClean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ru-RU" sz="45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ак </a:t>
            </a:r>
            <a:r>
              <a:rPr lang="ru-RU" sz="45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ктуальный результат образования</a:t>
            </a: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7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>
              <a:solidFill>
                <a:schemeClr val="bg1"/>
              </a:solidFill>
            </a:endParaRPr>
          </a:p>
        </p:txBody>
      </p: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C5B8FA12-8F11-450D-B1D4-14C77A453207}"/>
              </a:ext>
            </a:extLst>
          </p:cNvPr>
          <p:cNvGrpSpPr/>
          <p:nvPr/>
        </p:nvGrpSpPr>
        <p:grpSpPr>
          <a:xfrm>
            <a:off x="9784442" y="139004"/>
            <a:ext cx="2131199" cy="736914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3"/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6"/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7"/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19"/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</p:grpSp>
      <p:sp>
        <p:nvSpPr>
          <p:cNvPr id="26" name="TextBox 25"/>
          <p:cNvSpPr txBox="1"/>
          <p:nvPr/>
        </p:nvSpPr>
        <p:spPr>
          <a:xfrm>
            <a:off x="1413721" y="5897480"/>
            <a:ext cx="6997872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800" dirty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сети Интернет и в корпоративных сетях, а также запись в память ЭВМ, для частного или публичного использования, без письменного разрешения владельца авторских прав. © АО «Издательство «Просвещение», 2019</a:t>
            </a:r>
          </a:p>
        </p:txBody>
      </p:sp>
    </p:spTree>
    <p:extLst>
      <p:ext uri="{BB962C8B-B14F-4D97-AF65-F5344CB8AC3E}">
        <p14:creationId xmlns:p14="http://schemas.microsoft.com/office/powerpoint/2010/main" val="2938970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Овал 108"/>
          <p:cNvSpPr/>
          <p:nvPr/>
        </p:nvSpPr>
        <p:spPr>
          <a:xfrm>
            <a:off x="4805220" y="2126610"/>
            <a:ext cx="2991124" cy="2778873"/>
          </a:xfrm>
          <a:prstGeom prst="ellipse">
            <a:avLst/>
          </a:prstGeom>
          <a:solidFill>
            <a:srgbClr val="2F5597">
              <a:alpha val="96000"/>
            </a:srgbClr>
          </a:solidFill>
          <a:ln w="25400">
            <a:solidFill>
              <a:srgbClr val="2F5597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</p:sp>
      <p:grpSp>
        <p:nvGrpSpPr>
          <p:cNvPr id="25" name="Группа 24">
            <a:extLst>
              <a:ext uri="{FF2B5EF4-FFF2-40B4-BE49-F238E27FC236}">
                <a16:creationId xmlns:a16="http://schemas.microsoft.com/office/drawing/2014/main" id="{5F409373-9A5B-44C8-816B-3CD4935B5D87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40E68789-FF1F-4ECD-A4C0-D92B4205B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2D304122-1789-4C7E-8E38-BD9AE1A3D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:a16="http://schemas.microsoft.com/office/drawing/2014/main" id="{7D340A83-4DFE-45F3-9D9F-69C94507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id="{C7D9E808-0EC6-4708-B386-6B8B12016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:a16="http://schemas.microsoft.com/office/drawing/2014/main" id="{3272587C-45EE-494E-B363-B30FF2FFA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5" name="Freeform 11">
              <a:extLst>
                <a:ext uri="{FF2B5EF4-FFF2-40B4-BE49-F238E27FC236}">
                  <a16:creationId xmlns:a16="http://schemas.microsoft.com/office/drawing/2014/main" id="{DBEEAD1B-C5F3-4CAB-89E6-CD120401C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6" name="Freeform 12">
              <a:extLst>
                <a:ext uri="{FF2B5EF4-FFF2-40B4-BE49-F238E27FC236}">
                  <a16:creationId xmlns:a16="http://schemas.microsoft.com/office/drawing/2014/main" id="{DFAB29F9-B38A-48AF-9670-8A649BC87E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7" name="Freeform 13">
              <a:extLst>
                <a:ext uri="{FF2B5EF4-FFF2-40B4-BE49-F238E27FC236}">
                  <a16:creationId xmlns:a16="http://schemas.microsoft.com/office/drawing/2014/main" id="{B7F53006-9B26-4E6D-9C8C-B85E38492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8" name="Freeform 14">
              <a:extLst>
                <a:ext uri="{FF2B5EF4-FFF2-40B4-BE49-F238E27FC236}">
                  <a16:creationId xmlns:a16="http://schemas.microsoft.com/office/drawing/2014/main" id="{B1633DED-5F87-446C-A4F7-8C7B4F8D9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9" name="Freeform 15">
              <a:extLst>
                <a:ext uri="{FF2B5EF4-FFF2-40B4-BE49-F238E27FC236}">
                  <a16:creationId xmlns:a16="http://schemas.microsoft.com/office/drawing/2014/main" id="{0247048E-69DF-444C-BDB4-A58F593E8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0" name="Freeform 16">
              <a:extLst>
                <a:ext uri="{FF2B5EF4-FFF2-40B4-BE49-F238E27FC236}">
                  <a16:creationId xmlns:a16="http://schemas.microsoft.com/office/drawing/2014/main" id="{CE9FB897-82E1-4D63-B526-522A6B5CC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1" name="Freeform 17">
              <a:extLst>
                <a:ext uri="{FF2B5EF4-FFF2-40B4-BE49-F238E27FC236}">
                  <a16:creationId xmlns:a16="http://schemas.microsoft.com/office/drawing/2014/main" id="{E75B5DBF-82DC-4DE6-A954-058E409C7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2" name="Freeform 18">
              <a:extLst>
                <a:ext uri="{FF2B5EF4-FFF2-40B4-BE49-F238E27FC236}">
                  <a16:creationId xmlns:a16="http://schemas.microsoft.com/office/drawing/2014/main" id="{8D318242-192B-473E-AADF-DA090CA6B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19">
              <a:extLst>
                <a:ext uri="{FF2B5EF4-FFF2-40B4-BE49-F238E27FC236}">
                  <a16:creationId xmlns:a16="http://schemas.microsoft.com/office/drawing/2014/main" id="{F1A4685F-C9AD-47B0-94F5-BC135E1FA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44" name="TextBox 43"/>
          <p:cNvSpPr txBox="1"/>
          <p:nvPr/>
        </p:nvSpPr>
        <p:spPr>
          <a:xfrm>
            <a:off x="457684" y="253431"/>
            <a:ext cx="11100211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онцептуальная рамка оценки функциональной грамотности в исследовании </a:t>
            </a: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ISA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15303" y="6651116"/>
            <a:ext cx="2313597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sp>
        <p:nvSpPr>
          <p:cNvPr id="57" name="Овал 56"/>
          <p:cNvSpPr/>
          <p:nvPr/>
        </p:nvSpPr>
        <p:spPr>
          <a:xfrm>
            <a:off x="5827817" y="3600004"/>
            <a:ext cx="3156890" cy="2938390"/>
          </a:xfrm>
          <a:prstGeom prst="ellipse">
            <a:avLst/>
          </a:prstGeom>
          <a:solidFill>
            <a:srgbClr val="D64214">
              <a:alpha val="89804"/>
            </a:srgbClr>
          </a:solidFill>
          <a:ln w="38100">
            <a:solidFill>
              <a:srgbClr val="D64214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</p:sp>
      <p:cxnSp>
        <p:nvCxnSpPr>
          <p:cNvPr id="5" name="Прямая со стрелкой 4"/>
          <p:cNvCxnSpPr/>
          <p:nvPr/>
        </p:nvCxnSpPr>
        <p:spPr>
          <a:xfrm flipH="1" flipV="1">
            <a:off x="3119576" y="2729537"/>
            <a:ext cx="1160970" cy="14265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 стрелкой 8"/>
          <p:cNvCxnSpPr/>
          <p:nvPr/>
        </p:nvCxnSpPr>
        <p:spPr>
          <a:xfrm flipH="1" flipV="1">
            <a:off x="2958947" y="3553301"/>
            <a:ext cx="1321599" cy="5850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 стрелкой 13"/>
          <p:cNvCxnSpPr/>
          <p:nvPr/>
        </p:nvCxnSpPr>
        <p:spPr>
          <a:xfrm flipH="1">
            <a:off x="3235308" y="4164372"/>
            <a:ext cx="1045238" cy="664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Прямоугольник 65"/>
          <p:cNvSpPr/>
          <p:nvPr/>
        </p:nvSpPr>
        <p:spPr>
          <a:xfrm>
            <a:off x="8194040" y="2695555"/>
            <a:ext cx="1660137" cy="45356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азделы математики</a:t>
            </a:r>
          </a:p>
        </p:txBody>
      </p:sp>
      <p:sp>
        <p:nvSpPr>
          <p:cNvPr id="67" name="Прямоугольник 66"/>
          <p:cNvSpPr/>
          <p:nvPr/>
        </p:nvSpPr>
        <p:spPr>
          <a:xfrm>
            <a:off x="9868401" y="3387612"/>
            <a:ext cx="2130457" cy="606646"/>
          </a:xfrm>
          <a:prstGeom prst="rect">
            <a:avLst/>
          </a:prstGeom>
          <a:solidFill>
            <a:srgbClr val="FFD9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Цели чтения</a:t>
            </a:r>
          </a:p>
        </p:txBody>
      </p:sp>
      <p:sp>
        <p:nvSpPr>
          <p:cNvPr id="69" name="Прямоугольник 68"/>
          <p:cNvSpPr/>
          <p:nvPr/>
        </p:nvSpPr>
        <p:spPr>
          <a:xfrm>
            <a:off x="9934161" y="5211912"/>
            <a:ext cx="2207370" cy="1001726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доровье</a:t>
            </a:r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ресурсы</a:t>
            </a:r>
          </a:p>
          <a:p>
            <a:pPr algn="ctr"/>
            <a:r>
              <a:rPr lang="ru-RU" sz="1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кружающая </a:t>
            </a:r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а,</a:t>
            </a:r>
          </a:p>
          <a:p>
            <a:pPr algn="ctr"/>
            <a:r>
              <a:rPr lang="ru-RU" sz="1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вязь науки и технологии</a:t>
            </a:r>
          </a:p>
        </p:txBody>
      </p:sp>
      <p:cxnSp>
        <p:nvCxnSpPr>
          <p:cNvPr id="24" name="Прямая со стрелкой 23"/>
          <p:cNvCxnSpPr/>
          <p:nvPr/>
        </p:nvCxnSpPr>
        <p:spPr>
          <a:xfrm flipV="1">
            <a:off x="7406262" y="1990709"/>
            <a:ext cx="1432134" cy="5361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 стрелкой 69"/>
          <p:cNvCxnSpPr/>
          <p:nvPr/>
        </p:nvCxnSpPr>
        <p:spPr>
          <a:xfrm flipV="1">
            <a:off x="7406262" y="2370726"/>
            <a:ext cx="2527899" cy="15611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Прямая со стрелкой 71"/>
          <p:cNvCxnSpPr>
            <a:endCxn id="66" idx="1"/>
          </p:cNvCxnSpPr>
          <p:nvPr/>
        </p:nvCxnSpPr>
        <p:spPr>
          <a:xfrm>
            <a:off x="7371221" y="2522051"/>
            <a:ext cx="822819" cy="40028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 стрелкой 73"/>
          <p:cNvCxnSpPr>
            <a:stCxn id="57" idx="6"/>
            <a:endCxn id="67" idx="1"/>
          </p:cNvCxnSpPr>
          <p:nvPr/>
        </p:nvCxnSpPr>
        <p:spPr>
          <a:xfrm flipV="1">
            <a:off x="8984707" y="3690935"/>
            <a:ext cx="883694" cy="13782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 стрелкой 75"/>
          <p:cNvCxnSpPr>
            <a:stCxn id="57" idx="6"/>
            <a:endCxn id="69" idx="1"/>
          </p:cNvCxnSpPr>
          <p:nvPr/>
        </p:nvCxnSpPr>
        <p:spPr>
          <a:xfrm>
            <a:off x="8984707" y="5069199"/>
            <a:ext cx="949454" cy="6435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Прямая со стрелкой 77"/>
          <p:cNvCxnSpPr>
            <a:stCxn id="57" idx="6"/>
          </p:cNvCxnSpPr>
          <p:nvPr/>
        </p:nvCxnSpPr>
        <p:spPr>
          <a:xfrm flipV="1">
            <a:off x="8984707" y="4716688"/>
            <a:ext cx="883694" cy="35251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единительная линия 5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Прямоугольник 82"/>
          <p:cNvSpPr/>
          <p:nvPr/>
        </p:nvSpPr>
        <p:spPr>
          <a:xfrm>
            <a:off x="803216" y="4246071"/>
            <a:ext cx="2965710" cy="1353439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давать научные объяснения,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именять естественно-научные методы исследования,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нтерпретировать данные,  делать выводы</a:t>
            </a:r>
          </a:p>
          <a:p>
            <a:endParaRPr lang="ru-RU" sz="12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5113883" y="2603157"/>
            <a:ext cx="252543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ru-RU" sz="20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одержательная </a:t>
            </a:r>
          </a:p>
          <a:p>
            <a:pPr lvl="0" algn="ctr"/>
            <a:r>
              <a:rPr lang="ru-RU" sz="20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одель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6949874" y="4733990"/>
            <a:ext cx="2090637" cy="707886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онтексты</a:t>
            </a:r>
          </a:p>
          <a:p>
            <a:pPr algn="ctr"/>
            <a:r>
              <a:rPr lang="ru-RU" sz="20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ли ситуации</a:t>
            </a:r>
          </a:p>
        </p:txBody>
      </p:sp>
      <p:sp>
        <p:nvSpPr>
          <p:cNvPr id="103" name="Прямоугольник 102"/>
          <p:cNvSpPr/>
          <p:nvPr/>
        </p:nvSpPr>
        <p:spPr>
          <a:xfrm>
            <a:off x="1046129" y="1380496"/>
            <a:ext cx="2612901" cy="1353439"/>
          </a:xfrm>
          <a:prstGeom prst="rect">
            <a:avLst/>
          </a:prstGeom>
          <a:solidFill>
            <a:srgbClr val="FFD9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аботать с информацией:</a:t>
            </a:r>
          </a:p>
          <a:p>
            <a:endParaRPr lang="ru-RU" sz="12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indent="57150">
              <a:buFont typeface="Arial" pitchFamily="34" charset="0"/>
              <a:buChar char="•"/>
            </a:pP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аходить и извлекать,</a:t>
            </a:r>
          </a:p>
          <a:p>
            <a:pPr indent="57150">
              <a:buFont typeface="Arial" pitchFamily="34" charset="0"/>
              <a:buChar char="•"/>
            </a:pP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смысливать и оценивать,</a:t>
            </a:r>
          </a:p>
          <a:p>
            <a:pPr indent="57150">
              <a:buFont typeface="Arial" pitchFamily="34" charset="0"/>
              <a:buChar char="•"/>
            </a:pP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нтерпретировать</a:t>
            </a:r>
          </a:p>
        </p:txBody>
      </p:sp>
      <p:sp>
        <p:nvSpPr>
          <p:cNvPr id="104" name="Прямоугольник 103"/>
          <p:cNvSpPr/>
          <p:nvPr/>
        </p:nvSpPr>
        <p:spPr>
          <a:xfrm>
            <a:off x="9954231" y="2011914"/>
            <a:ext cx="1945670" cy="717623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Естественно-научные предметы</a:t>
            </a:r>
            <a:endParaRPr lang="ru-RU" sz="1200" b="1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algn="ctr"/>
            <a:r>
              <a:rPr lang="ru-RU" sz="12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етодология</a:t>
            </a:r>
          </a:p>
        </p:txBody>
      </p:sp>
      <p:sp>
        <p:nvSpPr>
          <p:cNvPr id="106" name="Прямоугольник 105"/>
          <p:cNvSpPr/>
          <p:nvPr/>
        </p:nvSpPr>
        <p:spPr>
          <a:xfrm>
            <a:off x="342884" y="2836458"/>
            <a:ext cx="2612901" cy="1353439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Формулировать, применять интерпретировать и оценивать результаты с позиций математики и реальной проблемы</a:t>
            </a:r>
          </a:p>
        </p:txBody>
      </p:sp>
      <p:sp>
        <p:nvSpPr>
          <p:cNvPr id="115" name="Прямоугольник 114"/>
          <p:cNvSpPr/>
          <p:nvPr/>
        </p:nvSpPr>
        <p:spPr>
          <a:xfrm>
            <a:off x="9908438" y="4082877"/>
            <a:ext cx="2127295" cy="99544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Мир индивидуума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, социума,</a:t>
            </a:r>
          </a:p>
          <a:p>
            <a:pPr algn="ctr"/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образования и науки</a:t>
            </a:r>
          </a:p>
        </p:txBody>
      </p:sp>
      <p:sp>
        <p:nvSpPr>
          <p:cNvPr id="116" name="Прямоугольник 115"/>
          <p:cNvSpPr/>
          <p:nvPr/>
        </p:nvSpPr>
        <p:spPr>
          <a:xfrm>
            <a:off x="8233338" y="1537144"/>
            <a:ext cx="1660137" cy="453565"/>
          </a:xfrm>
          <a:prstGeom prst="rect">
            <a:avLst/>
          </a:prstGeom>
          <a:solidFill>
            <a:srgbClr val="FFD9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Типы текста</a:t>
            </a:r>
          </a:p>
        </p:txBody>
      </p:sp>
      <p:sp>
        <p:nvSpPr>
          <p:cNvPr id="47" name="Овал 46"/>
          <p:cNvSpPr/>
          <p:nvPr/>
        </p:nvSpPr>
        <p:spPr>
          <a:xfrm>
            <a:off x="3931206" y="3650370"/>
            <a:ext cx="3083631" cy="2905326"/>
          </a:xfrm>
          <a:prstGeom prst="ellipse">
            <a:avLst/>
          </a:prstGeom>
          <a:solidFill>
            <a:srgbClr val="ED7D31">
              <a:alpha val="88000"/>
            </a:srgbClr>
          </a:solidFill>
          <a:ln w="25400">
            <a:solidFill>
              <a:srgbClr val="ED7D31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</p:sp>
      <p:sp>
        <p:nvSpPr>
          <p:cNvPr id="61" name="Прямоугольник 60"/>
          <p:cNvSpPr/>
          <p:nvPr/>
        </p:nvSpPr>
        <p:spPr>
          <a:xfrm>
            <a:off x="3979324" y="4779868"/>
            <a:ext cx="2737352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ru-RU" sz="20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омпетентностная</a:t>
            </a:r>
          </a:p>
          <a:p>
            <a:pPr lvl="0" algn="ctr"/>
            <a:r>
              <a:rPr lang="ru-RU" sz="20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модель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5604438" y="4212850"/>
            <a:ext cx="16716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БЛОК </a:t>
            </a:r>
          </a:p>
          <a:p>
            <a:pPr algn="ctr"/>
            <a:r>
              <a:rPr lang="ru-RU" sz="12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ЗАДАНИЙ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359109" y="6136062"/>
            <a:ext cx="281826" cy="221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2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640935" y="6170055"/>
            <a:ext cx="2830025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dirty="0" smtClean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Естественно–научная грамотность</a:t>
            </a:r>
            <a:endParaRPr lang="ru-RU" sz="8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359109" y="6406912"/>
            <a:ext cx="281826" cy="222792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200" b="1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359110" y="5870444"/>
            <a:ext cx="281826" cy="215768"/>
          </a:xfrm>
          <a:prstGeom prst="rect">
            <a:avLst/>
          </a:prstGeom>
          <a:solidFill>
            <a:srgbClr val="FFD9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2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624672" y="5886822"/>
            <a:ext cx="2830025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dirty="0" smtClean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Читательская грамотность</a:t>
            </a:r>
            <a:endParaRPr lang="ru-RU" sz="8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640934" y="6406911"/>
            <a:ext cx="2830025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dirty="0" smtClean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атематическая грамотность</a:t>
            </a:r>
            <a:endParaRPr lang="ru-RU" sz="8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chemeClr val="tx2"/>
                </a:solidFill>
              </a:rPr>
              <a:pPr/>
              <a:t>10</a:t>
            </a:fld>
            <a:endParaRPr lang="ru-RU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7791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15303" y="6651116"/>
            <a:ext cx="2313597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grpSp>
        <p:nvGrpSpPr>
          <p:cNvPr id="57" name="Группа 56">
            <a:extLst>
              <a:ext uri="{FF2B5EF4-FFF2-40B4-BE49-F238E27FC236}">
                <a16:creationId xmlns:a16="http://schemas.microsoft.com/office/drawing/2014/main" id="{5F409373-9A5B-44C8-816B-3CD4935B5D87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59" name="Freeform 6">
              <a:extLst>
                <a:ext uri="{FF2B5EF4-FFF2-40B4-BE49-F238E27FC236}">
                  <a16:creationId xmlns:a16="http://schemas.microsoft.com/office/drawing/2014/main" id="{40E68789-FF1F-4ECD-A4C0-D92B4205B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7">
              <a:extLst>
                <a:ext uri="{FF2B5EF4-FFF2-40B4-BE49-F238E27FC236}">
                  <a16:creationId xmlns:a16="http://schemas.microsoft.com/office/drawing/2014/main" id="{2D304122-1789-4C7E-8E38-BD9AE1A3D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1" name="Freeform 8">
              <a:extLst>
                <a:ext uri="{FF2B5EF4-FFF2-40B4-BE49-F238E27FC236}">
                  <a16:creationId xmlns:a16="http://schemas.microsoft.com/office/drawing/2014/main" id="{7D340A83-4DFE-45F3-9D9F-69C94507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2" name="Freeform 9">
              <a:extLst>
                <a:ext uri="{FF2B5EF4-FFF2-40B4-BE49-F238E27FC236}">
                  <a16:creationId xmlns:a16="http://schemas.microsoft.com/office/drawing/2014/main" id="{C7D9E808-0EC6-4708-B386-6B8B12016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4" name="Freeform 10">
              <a:extLst>
                <a:ext uri="{FF2B5EF4-FFF2-40B4-BE49-F238E27FC236}">
                  <a16:creationId xmlns:a16="http://schemas.microsoft.com/office/drawing/2014/main" id="{3272587C-45EE-494E-B363-B30FF2FFA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1">
              <a:extLst>
                <a:ext uri="{FF2B5EF4-FFF2-40B4-BE49-F238E27FC236}">
                  <a16:creationId xmlns:a16="http://schemas.microsoft.com/office/drawing/2014/main" id="{DBEEAD1B-C5F3-4CAB-89E6-CD120401C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6" name="Freeform 12">
              <a:extLst>
                <a:ext uri="{FF2B5EF4-FFF2-40B4-BE49-F238E27FC236}">
                  <a16:creationId xmlns:a16="http://schemas.microsoft.com/office/drawing/2014/main" id="{DFAB29F9-B38A-48AF-9670-8A649BC87E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id="{B7F53006-9B26-4E6D-9C8C-B85E38492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8" name="Freeform 14">
              <a:extLst>
                <a:ext uri="{FF2B5EF4-FFF2-40B4-BE49-F238E27FC236}">
                  <a16:creationId xmlns:a16="http://schemas.microsoft.com/office/drawing/2014/main" id="{B1633DED-5F87-446C-A4F7-8C7B4F8D9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:a16="http://schemas.microsoft.com/office/drawing/2014/main" id="{0247048E-69DF-444C-BDB4-A58F593E8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:a16="http://schemas.microsoft.com/office/drawing/2014/main" id="{CE9FB897-82E1-4D63-B526-522A6B5CC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:a16="http://schemas.microsoft.com/office/drawing/2014/main" id="{E75B5DBF-82DC-4DE6-A954-058E409C7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:a16="http://schemas.microsoft.com/office/drawing/2014/main" id="{8D318242-192B-473E-AADF-DA090CA6B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:a16="http://schemas.microsoft.com/office/drawing/2014/main" id="{F1A4685F-C9AD-47B0-94F5-BC135E1FA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75" name="TextBox 74"/>
          <p:cNvSpPr txBox="1"/>
          <p:nvPr/>
        </p:nvSpPr>
        <p:spPr>
          <a:xfrm>
            <a:off x="489537" y="340218"/>
            <a:ext cx="1093867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ормируем </a:t>
            </a: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</a:t>
            </a: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нкциональную грамотность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5" name="Подзаголовок 2"/>
          <p:cNvSpPr txBox="1">
            <a:spLocks/>
          </p:cNvSpPr>
          <p:nvPr/>
        </p:nvSpPr>
        <p:spPr>
          <a:xfrm>
            <a:off x="483215" y="2951248"/>
            <a:ext cx="6089316" cy="2600712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ru-RU"/>
            </a:defPPr>
            <a:lvl1pPr marR="0" lvl="0" fontAlgn="auto">
              <a:spcAft>
                <a:spcPts val="0"/>
              </a:spcAft>
              <a:buClrTx/>
              <a:buSzTx/>
              <a:tabLst/>
              <a:defRPr sz="1200" b="1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285750" lvl="2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оздание учебных ситуаций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инициирующих  учебную деятельность  учащихся, мотивирующих их на учебную деятельность и  проясняющих смыслы этой деятельности</a:t>
            </a:r>
          </a:p>
          <a:p>
            <a:pPr marL="285750" lvl="2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учение в общении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или </a:t>
            </a: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учебное сотрудничество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задания на работу в парах и малых группах</a:t>
            </a:r>
          </a:p>
          <a:p>
            <a:pPr marL="285750" lvl="2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оисковая активность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- задания поискового характера, учебные исследования, проекты</a:t>
            </a:r>
          </a:p>
          <a:p>
            <a:pPr marL="285750" lvl="2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ценочная </a:t>
            </a: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амостоятельность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школьников, задания на само- и </a:t>
            </a:r>
            <a:r>
              <a:rPr lang="ru-RU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заимооценку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: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иобретение опыта </a:t>
            </a:r>
            <a:r>
              <a:rPr lang="ru-RU" sz="1400" b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–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ейсы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ролевые игры,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диспуты, требующие разрешения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облем,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инятия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ешений,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озитивного поведения</a:t>
            </a:r>
            <a:endParaRPr lang="ru-RU" sz="1400" b="0" dirty="0" smtClean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483215" y="1667221"/>
            <a:ext cx="5934677" cy="728465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>
              <a:defRPr sz="1400" b="1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lnSpc>
                <a:spcPct val="100000"/>
              </a:lnSpc>
              <a:defRPr/>
            </a:pPr>
            <a:r>
              <a:rPr lang="ru-RU" sz="2000" dirty="0" smtClean="0">
                <a:solidFill>
                  <a:schemeClr val="bg1"/>
                </a:solidFill>
              </a:rPr>
              <a:t>Эффективные педагогические практики:</a:t>
            </a:r>
            <a:endParaRPr lang="en-US" sz="2000" dirty="0" smtClean="0">
              <a:solidFill>
                <a:schemeClr val="bg1"/>
              </a:solidFill>
            </a:endParaRPr>
          </a:p>
        </p:txBody>
      </p:sp>
      <p:pic>
        <p:nvPicPr>
          <p:cNvPr id="66562" name="Picture 2" descr="http://www.tutor4life.com/wp-content/uploads/2014/09/bigstock-Teacher-Giving-Personal-Instru-3917759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9788" y="1667221"/>
            <a:ext cx="3093244" cy="2062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566" name="Picture 6" descr="https://d2ikzglg0h-flywheel.netdna-ssl.com/wp-content/uploads/2019/06/mision-1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9788" y="4449925"/>
            <a:ext cx="3093244" cy="2062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564" name="Picture 4" descr="https://versiya.info/uploads/posts/2018-08/1533101005_y3wxit1ur8dc6xgyykmfmokbd6xgyykmfmokc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859391" y="3251647"/>
            <a:ext cx="3093244" cy="2137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30092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0424" y="3968678"/>
            <a:ext cx="1698454" cy="2342267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8626" y="2212552"/>
            <a:ext cx="2266748" cy="3057800"/>
          </a:xfrm>
          <a:prstGeom prst="rect">
            <a:avLst/>
          </a:prstGeom>
        </p:spPr>
      </p:pic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86" name="Слайд think-cell" r:id="rId7" imgW="359" imgH="360" progId="TCLayout.ActiveDocument.1">
                  <p:embed/>
                </p:oleObj>
              </mc:Choice>
              <mc:Fallback>
                <p:oleObj name="Слайд think-cell" r:id="rId7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537546" y="205617"/>
            <a:ext cx="10363967" cy="9356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ерия «ФГОС: Оценка образовательных </a:t>
            </a: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остижений»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53" name="Группа 52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54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6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9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1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2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3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4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6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483215" y="1597572"/>
            <a:ext cx="10385290" cy="728465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>
              <a:defRPr sz="1400" b="1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>
                <a:solidFill>
                  <a:schemeClr val="bg1"/>
                </a:solidFill>
              </a:rPr>
              <a:t>под рук. Г.С. Ковалевой, кандидата педагогических наук, руководителя Центра оценки качества образования Института стратегии развития образования Российской академии наук, эксперта международного класса </a:t>
            </a:r>
          </a:p>
        </p:txBody>
      </p:sp>
      <p:sp>
        <p:nvSpPr>
          <p:cNvPr id="42" name="Содержимое 17"/>
          <p:cNvSpPr txBox="1">
            <a:spLocks/>
          </p:cNvSpPr>
          <p:nvPr/>
        </p:nvSpPr>
        <p:spPr>
          <a:xfrm>
            <a:off x="6632337" y="2535798"/>
            <a:ext cx="4236168" cy="3706575"/>
          </a:xfrm>
          <a:prstGeom prst="rect">
            <a:avLst/>
          </a:prstGeom>
        </p:spPr>
        <p:txBody>
          <a:bodyPr vert="horz" lIns="42844" tIns="42844" rIns="42844" bIns="42844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ценка читательской грамотности 5 – 9 классы. </a:t>
            </a:r>
          </a:p>
          <a:p>
            <a:pPr marL="285750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4 варианта тестов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, в каждом из которых даются тексты по 4 предметным областям (математике, русскому языку,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естественно-научным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едметам и общественно-научным предметам) с заданиями к ним.</a:t>
            </a:r>
          </a:p>
          <a:p>
            <a:pPr marL="285750" indent="-285750" algn="l">
              <a:spcAft>
                <a:spcPts val="600"/>
              </a:spcAft>
            </a:pPr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     Для проведения </a:t>
            </a:r>
            <a:r>
              <a:rPr lang="ru-RU" sz="1400" b="1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нутришкольного</a:t>
            </a:r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мониторинга в 5 – 9 классах:</a:t>
            </a:r>
          </a:p>
          <a:p>
            <a:pPr marL="285750" lvl="1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ежегодно,</a:t>
            </a:r>
          </a:p>
          <a:p>
            <a:pPr marL="285750" lvl="1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 раза в год (входная и итоговая диагностика),</a:t>
            </a:r>
          </a:p>
          <a:p>
            <a:pPr marL="285750" lvl="1" indent="-2857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о четвертям с изменением предметной области.</a:t>
            </a:r>
            <a:endParaRPr lang="ru-RU" sz="1400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44" name="Picture 4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1387" y="2379543"/>
            <a:ext cx="1725695" cy="2379916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48" name="Picture 158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430" y="3844183"/>
            <a:ext cx="1768537" cy="249919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5760" y="2379543"/>
            <a:ext cx="1619559" cy="2538493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7373" y="3844183"/>
            <a:ext cx="1596983" cy="2499190"/>
          </a:xfrm>
          <a:prstGeom prst="rect">
            <a:avLst/>
          </a:prstGeom>
        </p:spPr>
      </p:pic>
      <p:sp>
        <p:nvSpPr>
          <p:cNvPr id="2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4CB9B150-16F9-4654-A9FF-3F04349E5D0B}" type="slidenum">
              <a:rPr lang="ru-RU" smtClean="0"/>
              <a:pPr/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26566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11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extBox 36">
            <a:extLst>
              <a:ext uri="{FF2B5EF4-FFF2-40B4-BE49-F238E27FC236}">
                <a16:creationId xmlns:a16="http://schemas.microsoft.com/office/drawing/2014/main" id="{F7FC2986-4132-4116-842E-EB7D4972ED67}"/>
              </a:ext>
            </a:extLst>
          </p:cNvPr>
          <p:cNvSpPr txBox="1"/>
          <p:nvPr/>
        </p:nvSpPr>
        <p:spPr>
          <a:xfrm>
            <a:off x="483215" y="1441364"/>
            <a:ext cx="10527505" cy="648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 marL="723900">
              <a:defRPr sz="2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/>
            <a:r>
              <a:rPr lang="ru-RU" dirty="0"/>
              <a:t>Функциональная грамотность. Тренажеры 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501201" y="180576"/>
            <a:ext cx="9286612" cy="9356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ерия «Функциональная Грамотность. </a:t>
            </a:r>
            <a:endParaRPr lang="ru-RU" sz="3200" b="1" spc="-40" dirty="0" smtClean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Тренажёры»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0374692A-A8C8-433A-BF11-7C8E8130BB59}"/>
              </a:ext>
            </a:extLst>
          </p:cNvPr>
          <p:cNvSpPr/>
          <p:nvPr/>
        </p:nvSpPr>
        <p:spPr>
          <a:xfrm>
            <a:off x="8376988" y="2980096"/>
            <a:ext cx="2617806" cy="1154162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Живые системы. 7</a:t>
            </a:r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–</a:t>
            </a: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9 </a:t>
            </a:r>
            <a:r>
              <a:rPr lang="ru-RU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лассы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ауки о </a:t>
            </a: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Земле и Вселенной. </a:t>
            </a:r>
            <a:endParaRPr lang="ru-RU" sz="1200" b="1" dirty="0" smtClean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>
              <a:spcAft>
                <a:spcPts val="600"/>
              </a:spcAft>
            </a:pP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ru-RU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    7</a:t>
            </a:r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–</a:t>
            </a: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9 </a:t>
            </a:r>
            <a:r>
              <a:rPr lang="ru-RU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лассы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Физические системы. 7-9 классы</a:t>
            </a:r>
            <a:endParaRPr lang="ru-RU" sz="12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8391658" y="2188359"/>
            <a:ext cx="2619062" cy="648997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отовятся к </a:t>
            </a:r>
            <a:r>
              <a:rPr lang="ru-RU" sz="1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ечати</a:t>
            </a:r>
          </a:p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в декабре 2019 </a:t>
            </a:r>
            <a:endParaRPr lang="ru-RU" sz="14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53" name="Группа 52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54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6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9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1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2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3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4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6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200" y="2299448"/>
            <a:ext cx="2437674" cy="341274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</p:spPr>
      </p:pic>
      <p:sp>
        <p:nvSpPr>
          <p:cNvPr id="40" name="Содержимое 17"/>
          <p:cNvSpPr txBox="1">
            <a:spLocks/>
          </p:cNvSpPr>
          <p:nvPr/>
        </p:nvSpPr>
        <p:spPr>
          <a:xfrm>
            <a:off x="3016103" y="2256237"/>
            <a:ext cx="4936636" cy="2828193"/>
          </a:xfrm>
          <a:prstGeom prst="rect">
            <a:avLst/>
          </a:prstGeom>
        </p:spPr>
        <p:txBody>
          <a:bodyPr vert="horz" lIns="42844" tIns="42844" rIns="42844" bIns="42844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омогают формировать умение осознанно использовать полученные в ходе обучения знания для решения жизненных задач, развивают активность и самостоятельность учащихся, вовлекают их в поисковую и познавательную деятельность. </a:t>
            </a:r>
          </a:p>
          <a:p>
            <a:pPr algn="l"/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одержат разнообразные практико-ориентированные задания, позволяющие школьникам подготовиться к участию в международных исследованиях качества образования. Приведены примеры их решений и ответы. </a:t>
            </a:r>
          </a:p>
          <a:p>
            <a:pPr algn="l"/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огут использоваться учителями математики, русского языка, обществознания, биологии, физики и химии на уроках, во внеурочной деятельности, в системе дополнительного образования, семейного образования.</a:t>
            </a:r>
          </a:p>
        </p:txBody>
      </p:sp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0374692A-A8C8-433A-BF11-7C8E8130BB59}"/>
              </a:ext>
            </a:extLst>
          </p:cNvPr>
          <p:cNvSpPr/>
          <p:nvPr/>
        </p:nvSpPr>
        <p:spPr>
          <a:xfrm>
            <a:off x="8422373" y="5029636"/>
            <a:ext cx="2619062" cy="107721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 поисках финансового равновесия. 6</a:t>
            </a:r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–</a:t>
            </a: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8 классы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ногомерное чтение. 6-8 классы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ru-RU" sz="12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8422373" y="4271343"/>
            <a:ext cx="2619062" cy="648997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отовятся к </a:t>
            </a:r>
            <a:r>
              <a:rPr lang="ru-RU" sz="1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ечати</a:t>
            </a:r>
          </a:p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в начале 2020</a:t>
            </a:r>
            <a:endParaRPr lang="ru-RU" sz="14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r>
              <a:rPr lang="ru-RU" dirty="0" smtClean="0"/>
              <a:t>13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2634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9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516821" y="482264"/>
            <a:ext cx="9641438" cy="4678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инансовая грамотность</a:t>
            </a: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3972560" y="4683770"/>
            <a:ext cx="4432564" cy="110799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1069299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Arial"/>
              </a:rPr>
              <a:t>Состав </a:t>
            </a:r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Arial"/>
              </a:rPr>
              <a:t>УМК:</a:t>
            </a:r>
            <a:endParaRPr 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Arial"/>
            </a:endParaRPr>
          </a:p>
          <a:p>
            <a:pPr marL="180000" indent="-180000" defTabSz="1069299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Arial"/>
              </a:rPr>
              <a:t>Учебник </a:t>
            </a:r>
          </a:p>
          <a:p>
            <a:pPr marL="180000" indent="-180000" defTabSz="1069299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Arial"/>
              </a:rPr>
              <a:t>Рабочая тетрадь </a:t>
            </a:r>
          </a:p>
          <a:p>
            <a:pPr marL="180000" indent="-180000" defTabSz="1069299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Arial"/>
              </a:rPr>
              <a:t>Методические рекомендации </a:t>
            </a:r>
          </a:p>
          <a:p>
            <a:pPr marL="180000" indent="-180000" defTabSz="1069299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Arial"/>
              </a:rPr>
              <a:t>Электронная форма учебника </a:t>
            </a:r>
          </a:p>
        </p:txBody>
      </p:sp>
      <p:pic>
        <p:nvPicPr>
          <p:cNvPr id="28" name="Picture 4" descr="https://www.prosv.ru/_data/umk/541/e-versiya.jp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4" t="4792" r="3954" b="8585"/>
          <a:stretch/>
        </p:blipFill>
        <p:spPr bwMode="auto">
          <a:xfrm>
            <a:off x="8710958" y="2179948"/>
            <a:ext cx="2372968" cy="145768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954" name="Picture 1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611" y="2209475"/>
            <a:ext cx="2894693" cy="3872067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D73AF0E4-C89C-4590-9120-B36716DBE064}"/>
              </a:ext>
            </a:extLst>
          </p:cNvPr>
          <p:cNvSpPr txBox="1"/>
          <p:nvPr/>
        </p:nvSpPr>
        <p:spPr>
          <a:xfrm>
            <a:off x="493611" y="1353946"/>
            <a:ext cx="10472174" cy="71733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 marL="723900">
              <a:defRPr sz="2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/>
            <a:r>
              <a:rPr lang="ru-RU" sz="1400" dirty="0" smtClean="0">
                <a:sym typeface="Arial"/>
              </a:rPr>
              <a:t>Главная </a:t>
            </a:r>
            <a:r>
              <a:rPr lang="ru-RU" sz="1400" dirty="0">
                <a:sym typeface="Arial"/>
              </a:rPr>
              <a:t>задача курса — научить критически оценивать финансовые предложения с учетом их преимуществ и недостатков и делать осознанный выбор для достижения личных финансовых </a:t>
            </a:r>
            <a:r>
              <a:rPr lang="ru-RU" sz="1400" dirty="0" smtClean="0">
                <a:sym typeface="Arial"/>
              </a:rPr>
              <a:t>целей</a:t>
            </a:r>
            <a:endParaRPr lang="ru-RU" sz="1400" dirty="0">
              <a:sym typeface="Arial"/>
            </a:endParaRPr>
          </a:p>
        </p:txBody>
      </p: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7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8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9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0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1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2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3666725" y="2199453"/>
            <a:ext cx="5044233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остым и ясным языком освещает вопросы:</a:t>
            </a: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Личное финансовое планирование, расходы и доходы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емьи</a:t>
            </a: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ак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охранить и преумножить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бережения</a:t>
            </a: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редитование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 возможные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иски</a:t>
            </a: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обильные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латежи и защита от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ошенников</a:t>
            </a: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трахование</a:t>
            </a:r>
            <a:endParaRPr lang="ru-RU" sz="1400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алоги</a:t>
            </a:r>
            <a:endParaRPr lang="ru-RU" sz="1400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енсия</a:t>
            </a:r>
            <a:endParaRPr lang="ru-RU" sz="1400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Защита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т финансовых махинаций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8526558" y="3768046"/>
            <a:ext cx="3263403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ожет использоваться</a:t>
            </a:r>
          </a:p>
          <a:p>
            <a:pPr marL="180975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а уроках, во внеурочной деятельности, в системе дополнительного образования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9464369" y="5237768"/>
            <a:ext cx="23115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8800028" y="4989444"/>
            <a:ext cx="2073041" cy="433553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№ ФПУ 1.3.6.2.1.1</a:t>
            </a:r>
          </a:p>
        </p:txBody>
      </p:sp>
      <p:cxnSp>
        <p:nvCxnSpPr>
          <p:cNvPr id="36" name="Прямая соединительная линия 35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r>
              <a:rPr lang="ru-RU" dirty="0" smtClean="0"/>
              <a:t>1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88930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55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436562" y="473293"/>
            <a:ext cx="9440454" cy="4678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ерия «Задачники»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7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8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9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0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1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2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9464369" y="5237768"/>
            <a:ext cx="23115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A2D9AC4-09ED-41C8-9B7E-ABA991EBB706}"/>
              </a:ext>
            </a:extLst>
          </p:cNvPr>
          <p:cNvSpPr txBox="1"/>
          <p:nvPr/>
        </p:nvSpPr>
        <p:spPr>
          <a:xfrm>
            <a:off x="436562" y="1451628"/>
            <a:ext cx="10432844" cy="648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 marL="723900">
              <a:defRPr sz="2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/>
            <a:r>
              <a:rPr lang="ru-RU" dirty="0"/>
              <a:t>Функциональная грамотность. Задачники</a:t>
            </a:r>
          </a:p>
        </p:txBody>
      </p:sp>
      <p:pic>
        <p:nvPicPr>
          <p:cNvPr id="35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020" y="2488945"/>
            <a:ext cx="1681200" cy="2268001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6" name="Picture 3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5" t="1733" r="5391" b="3923"/>
          <a:stretch/>
        </p:blipFill>
        <p:spPr bwMode="auto">
          <a:xfrm>
            <a:off x="1345542" y="3673374"/>
            <a:ext cx="1762371" cy="226765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51" name="Прямоугольник 50"/>
          <p:cNvSpPr/>
          <p:nvPr/>
        </p:nvSpPr>
        <p:spPr>
          <a:xfrm>
            <a:off x="3565584" y="2131253"/>
            <a:ext cx="4902273" cy="35702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</a:pP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ногофункциональные задачники: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озволят учащимся существенно повысить уровень своей функциональной грамотности, 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одержат разнообразные тренировочные и проверочные задания и упражнения для текущего и итогового контроля знаний, а также творческие задания, позволяющие углубить знания по различным предметным областям и расширить кругозор,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огут использоваться учителями математики, русского языка, обществознания, биологии, физики и химии на уроках, во внеурочной деятельности, в системе дополнительного образования, семейного образования.</a:t>
            </a:r>
          </a:p>
        </p:txBody>
      </p:sp>
      <p:pic>
        <p:nvPicPr>
          <p:cNvPr id="61" name="Рисунок 6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6114" y="2314146"/>
            <a:ext cx="1681200" cy="2267999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</p:spPr>
      </p:pic>
      <p:cxnSp>
        <p:nvCxnSpPr>
          <p:cNvPr id="72" name="Прямая соединительная линия 71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1" name="Рисунок 70">
            <a:extLst>
              <a:ext uri="{FF2B5EF4-FFF2-40B4-BE49-F238E27FC236}">
                <a16:creationId xmlns:a16="http://schemas.microsoft.com/office/drawing/2014/main" id="{CAE9C929-47DA-4A70-A58F-FB9DE16F1F1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1887" y="3761273"/>
            <a:ext cx="1681200" cy="226800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</p:spPr>
      </p:pic>
      <p:sp>
        <p:nvSpPr>
          <p:cNvPr id="28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r>
              <a:rPr lang="ru-RU" dirty="0" smtClean="0"/>
              <a:t>15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28237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25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436562" y="255926"/>
            <a:ext cx="9734154" cy="9356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ерия «Функциональная грамотность.</a:t>
            </a:r>
          </a:p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чимся </a:t>
            </a: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ля жизни» </a:t>
            </a:r>
          </a:p>
        </p:txBody>
      </p: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7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8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9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0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1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2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9464369" y="5237768"/>
            <a:ext cx="23115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A2D9AC4-09ED-41C8-9B7E-ABA991EBB706}"/>
              </a:ext>
            </a:extLst>
          </p:cNvPr>
          <p:cNvSpPr txBox="1"/>
          <p:nvPr/>
        </p:nvSpPr>
        <p:spPr>
          <a:xfrm>
            <a:off x="436562" y="1414362"/>
            <a:ext cx="10411314" cy="648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 marL="723900">
              <a:defRPr sz="2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/>
            <a:r>
              <a:rPr lang="ru-RU" dirty="0" smtClean="0"/>
              <a:t>Сборники эталонных изданий</a:t>
            </a:r>
            <a:endParaRPr lang="ru-RU" dirty="0"/>
          </a:p>
        </p:txBody>
      </p:sp>
      <p:sp>
        <p:nvSpPr>
          <p:cNvPr id="51" name="Прямоугольник 50"/>
          <p:cNvSpPr/>
          <p:nvPr/>
        </p:nvSpPr>
        <p:spPr>
          <a:xfrm>
            <a:off x="3610518" y="2371327"/>
            <a:ext cx="7355267" cy="35702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едназначены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для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формирования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 оценки всех аспектов функциональной грамотности, которые изучаются в международном сравнительном исследовании PISA.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одержат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бучающие и тренировочные задания, охватывающие все содержательные и </a:t>
            </a:r>
            <a:r>
              <a:rPr lang="ru-RU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омпетентностые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аспекты оценки функциональной грамотности по каждой из областей. Приводятся развернутые описания особенностей оценки заданий, рекомендации по использованию системы заданий и их оценки. Все задания построены на основе реальных жизненных ситуаций. 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огут быть использованы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 обучающих целях педагогами на уроках и во внеурочной деятельности, а также администрацией школы для организации </a:t>
            </a:r>
            <a:r>
              <a:rPr lang="ru-RU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нутришкольного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мониторинга по оценке функциональной грамотности учащихся 5 и 7 классов.</a:t>
            </a:r>
          </a:p>
          <a:p>
            <a:pPr>
              <a:spcBef>
                <a:spcPts val="1200"/>
              </a:spcBef>
            </a:pP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31" name="Рисунок 30"/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627" y="2624788"/>
            <a:ext cx="2073041" cy="2929219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</p:spPr>
      </p:pic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Прямоугольник 26"/>
          <p:cNvSpPr/>
          <p:nvPr/>
        </p:nvSpPr>
        <p:spPr>
          <a:xfrm>
            <a:off x="730627" y="5776152"/>
            <a:ext cx="2073041" cy="648997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отовятся к </a:t>
            </a:r>
            <a:r>
              <a:rPr lang="ru-RU" sz="1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ечати</a:t>
            </a:r>
          </a:p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в декабре 2019 </a:t>
            </a:r>
            <a:endParaRPr lang="ru-RU" sz="14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8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r>
              <a:rPr lang="ru-RU" dirty="0" smtClean="0"/>
              <a:t>1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9047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02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577941" y="310275"/>
            <a:ext cx="11167069" cy="14527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ормирование </a:t>
            </a: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ункциональной грамотности</a:t>
            </a:r>
          </a:p>
          <a:p>
            <a:pPr>
              <a:lnSpc>
                <a:spcPct val="100000"/>
              </a:lnSpc>
            </a:pP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 образовательной организации</a:t>
            </a:r>
          </a:p>
          <a:p>
            <a:pPr>
              <a:lnSpc>
                <a:spcPct val="95000"/>
              </a:lnSpc>
            </a:pP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</a:p>
        </p:txBody>
      </p: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7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8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9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0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1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2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9464369" y="5237768"/>
            <a:ext cx="23115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-9236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742151" y="1858170"/>
            <a:ext cx="2872535" cy="122262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72000" tIns="72000" rIns="72000" bIns="72000" rtlCol="0">
            <a:spAutoFit/>
          </a:bodyPr>
          <a:lstStyle/>
          <a:p>
            <a:pPr algn="ctr"/>
            <a:endParaRPr lang="ru-RU" sz="1400" b="1" dirty="0" smtClean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дминистративная деятельность</a:t>
            </a:r>
          </a:p>
          <a:p>
            <a:pPr algn="ctr"/>
            <a:endParaRPr lang="ru-RU" sz="14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/>
            <a:endParaRPr lang="ru-RU" sz="14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3778898" y="1465162"/>
            <a:ext cx="7309178" cy="228054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 sz="1400" b="1">
                <a:solidFill>
                  <a:schemeClr val="lt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>
              <a:spcBef>
                <a:spcPct val="0"/>
              </a:spcBef>
              <a:defRPr/>
            </a:pPr>
            <a:endParaRPr lang="en-US" sz="1100" dirty="0" smtClean="0">
              <a:latin typeface="Open Sans Light" panose="020B0306030504020204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l"/>
            <a:r>
              <a:rPr lang="ru-RU" sz="1100" dirty="0" smtClean="0">
                <a:solidFill>
                  <a:schemeClr val="bg1"/>
                </a:solidFill>
              </a:rPr>
              <a:t>1. Внесение </a:t>
            </a:r>
            <a:r>
              <a:rPr lang="ru-RU" sz="1100" dirty="0">
                <a:solidFill>
                  <a:schemeClr val="bg1"/>
                </a:solidFill>
              </a:rPr>
              <a:t>изменений в основную образовательную </a:t>
            </a:r>
            <a:r>
              <a:rPr lang="ru-RU" sz="1100" dirty="0" smtClean="0">
                <a:solidFill>
                  <a:schemeClr val="bg1"/>
                </a:solidFill>
              </a:rPr>
              <a:t>программу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100" b="0" dirty="0">
                <a:solidFill>
                  <a:schemeClr val="bg1"/>
                </a:solidFill>
              </a:rPr>
              <a:t>Целевой раздел: планируемые результаты и система оценки их </a:t>
            </a:r>
            <a:r>
              <a:rPr lang="ru-RU" sz="1100" b="0" dirty="0" smtClean="0">
                <a:solidFill>
                  <a:schemeClr val="bg1"/>
                </a:solidFill>
              </a:rPr>
              <a:t>достижения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100" b="0" dirty="0" smtClean="0">
                <a:solidFill>
                  <a:schemeClr val="bg1"/>
                </a:solidFill>
              </a:rPr>
              <a:t>Содержательный </a:t>
            </a:r>
            <a:r>
              <a:rPr lang="ru-RU" sz="1100" b="0" dirty="0">
                <a:solidFill>
                  <a:schemeClr val="bg1"/>
                </a:solidFill>
              </a:rPr>
              <a:t>раздел: корректировка программ учебных курсов, в том числе </a:t>
            </a:r>
            <a:r>
              <a:rPr lang="ru-RU" sz="1100" b="0" dirty="0" smtClean="0">
                <a:solidFill>
                  <a:schemeClr val="bg1"/>
                </a:solidFill>
              </a:rPr>
              <a:t>интегрированных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100" b="0" dirty="0" smtClean="0">
                <a:solidFill>
                  <a:schemeClr val="bg1"/>
                </a:solidFill>
              </a:rPr>
              <a:t>Организационный</a:t>
            </a:r>
            <a:r>
              <a:rPr lang="ru-RU" sz="1100" b="0" dirty="0">
                <a:solidFill>
                  <a:schemeClr val="bg1"/>
                </a:solidFill>
              </a:rPr>
              <a:t>: включение соответствующих курсов в часть учебного плана, формируемую участниками образовательных отношений, в план внеурочной деятельности </a:t>
            </a:r>
            <a:endParaRPr lang="ru-RU" sz="1100" b="0" dirty="0" smtClean="0">
              <a:solidFill>
                <a:schemeClr val="bg1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ru-RU" sz="1100" b="0" dirty="0">
              <a:solidFill>
                <a:schemeClr val="bg1"/>
              </a:solidFill>
            </a:endParaRPr>
          </a:p>
          <a:p>
            <a:pPr algn="l"/>
            <a:r>
              <a:rPr lang="ru-RU" sz="1100" dirty="0" smtClean="0">
                <a:solidFill>
                  <a:schemeClr val="bg1"/>
                </a:solidFill>
              </a:rPr>
              <a:t>2. Включение </a:t>
            </a:r>
            <a:r>
              <a:rPr lang="ru-RU" sz="1100" dirty="0">
                <a:solidFill>
                  <a:schemeClr val="bg1"/>
                </a:solidFill>
              </a:rPr>
              <a:t>в план методической работы образовательной организации серии семинаров-практикумов, направленных на совместную работу всего педагогического коллектива по формированию функциональной грамотности.</a:t>
            </a:r>
          </a:p>
          <a:p>
            <a:pPr algn="l"/>
            <a:endParaRPr lang="ru-RU" sz="1100" dirty="0" smtClean="0">
              <a:solidFill>
                <a:schemeClr val="bg1"/>
              </a:solidFill>
            </a:endParaRPr>
          </a:p>
          <a:p>
            <a:pPr algn="l"/>
            <a:r>
              <a:rPr lang="ru-RU" sz="1100" dirty="0" smtClean="0">
                <a:solidFill>
                  <a:schemeClr val="bg1"/>
                </a:solidFill>
              </a:rPr>
              <a:t>3. Проведение </a:t>
            </a:r>
            <a:r>
              <a:rPr lang="ru-RU" sz="1100" dirty="0" err="1">
                <a:solidFill>
                  <a:schemeClr val="bg1"/>
                </a:solidFill>
              </a:rPr>
              <a:t>внутришкольного</a:t>
            </a:r>
            <a:r>
              <a:rPr lang="ru-RU" sz="1100" dirty="0">
                <a:solidFill>
                  <a:schemeClr val="bg1"/>
                </a:solidFill>
              </a:rPr>
              <a:t> мониторинга </a:t>
            </a:r>
            <a:r>
              <a:rPr lang="ru-RU" sz="1100" dirty="0" err="1">
                <a:solidFill>
                  <a:schemeClr val="bg1"/>
                </a:solidFill>
              </a:rPr>
              <a:t>сформированности</a:t>
            </a:r>
            <a:r>
              <a:rPr lang="ru-RU" sz="1100" dirty="0">
                <a:solidFill>
                  <a:schemeClr val="bg1"/>
                </a:solidFill>
              </a:rPr>
              <a:t> функциональной грамотности учащихся с 5 по 9 класс.</a:t>
            </a:r>
          </a:p>
          <a:p>
            <a:pPr lvl="0">
              <a:spcBef>
                <a:spcPct val="0"/>
              </a:spcBef>
              <a:defRPr/>
            </a:pPr>
            <a:endParaRPr lang="ru-RU" sz="1100" dirty="0"/>
          </a:p>
        </p:txBody>
      </p:sp>
      <p:sp>
        <p:nvSpPr>
          <p:cNvPr id="55" name="TextBox 54"/>
          <p:cNvSpPr txBox="1"/>
          <p:nvPr/>
        </p:nvSpPr>
        <p:spPr>
          <a:xfrm>
            <a:off x="742150" y="3892195"/>
            <a:ext cx="2872535" cy="576293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рочная деятельность</a:t>
            </a:r>
          </a:p>
          <a:p>
            <a:pPr algn="ctr"/>
            <a:endParaRPr lang="ru-RU" sz="14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742150" y="4930845"/>
            <a:ext cx="2872535" cy="79173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72000" tIns="72000" rIns="72000" bIns="72000" rtlCol="0">
            <a:spAutoFit/>
          </a:bodyPr>
          <a:lstStyle/>
          <a:p>
            <a:pPr algn="ctr"/>
            <a:endParaRPr lang="ru-RU" sz="1400" b="1" dirty="0" smtClean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неурочная </a:t>
            </a:r>
            <a:r>
              <a:rPr lang="ru-RU" sz="1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еятельность</a:t>
            </a:r>
          </a:p>
          <a:p>
            <a:pPr algn="ctr"/>
            <a:endParaRPr lang="ru-RU" sz="14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3778898" y="3879266"/>
            <a:ext cx="7309178" cy="57340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 sz="1400" b="1">
                <a:solidFill>
                  <a:schemeClr val="lt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ru-RU" sz="1100" dirty="0" smtClean="0">
                <a:solidFill>
                  <a:schemeClr val="bg1"/>
                </a:solidFill>
              </a:rPr>
              <a:t>1. Решение </a:t>
            </a:r>
            <a:r>
              <a:rPr lang="ru-RU" sz="1100" dirty="0">
                <a:solidFill>
                  <a:schemeClr val="bg1"/>
                </a:solidFill>
              </a:rPr>
              <a:t>контекстных задач в рамках уроков по всем предметам учебного плана.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3803653" y="4586232"/>
            <a:ext cx="7301486" cy="145198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 sz="1400" b="1">
                <a:solidFill>
                  <a:schemeClr val="lt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ru-RU" sz="1100" dirty="0" smtClean="0">
                <a:solidFill>
                  <a:schemeClr val="bg1"/>
                </a:solidFill>
              </a:rPr>
              <a:t>1. Проектно-исследовательская </a:t>
            </a:r>
            <a:r>
              <a:rPr lang="ru-RU" sz="1100" dirty="0">
                <a:solidFill>
                  <a:schemeClr val="bg1"/>
                </a:solidFill>
              </a:rPr>
              <a:t>работа обучающихся с активным использованием </a:t>
            </a:r>
            <a:r>
              <a:rPr lang="ru-RU" sz="1100" dirty="0" err="1">
                <a:solidFill>
                  <a:schemeClr val="bg1"/>
                </a:solidFill>
              </a:rPr>
              <a:t>метапредметных</a:t>
            </a:r>
            <a:r>
              <a:rPr lang="ru-RU" sz="1100" dirty="0">
                <a:solidFill>
                  <a:schemeClr val="bg1"/>
                </a:solidFill>
              </a:rPr>
              <a:t> и </a:t>
            </a:r>
            <a:r>
              <a:rPr lang="ru-RU" sz="1100" dirty="0" err="1">
                <a:solidFill>
                  <a:schemeClr val="bg1"/>
                </a:solidFill>
              </a:rPr>
              <a:t>межпредметных</a:t>
            </a:r>
            <a:r>
              <a:rPr lang="ru-RU" sz="1100" dirty="0">
                <a:solidFill>
                  <a:schemeClr val="bg1"/>
                </a:solidFill>
              </a:rPr>
              <a:t> проектов и исследований. </a:t>
            </a:r>
          </a:p>
          <a:p>
            <a:pPr algn="l">
              <a:defRPr/>
            </a:pPr>
            <a:endParaRPr lang="ru-RU" sz="1100" dirty="0" smtClean="0">
              <a:solidFill>
                <a:schemeClr val="bg1"/>
              </a:solidFill>
            </a:endParaRPr>
          </a:p>
          <a:p>
            <a:pPr algn="l">
              <a:defRPr/>
            </a:pPr>
            <a:r>
              <a:rPr lang="ru-RU" sz="1100" dirty="0" smtClean="0">
                <a:solidFill>
                  <a:schemeClr val="bg1"/>
                </a:solidFill>
              </a:rPr>
              <a:t>2. </a:t>
            </a:r>
            <a:r>
              <a:rPr lang="ru-RU" sz="1100" dirty="0">
                <a:solidFill>
                  <a:schemeClr val="bg1"/>
                </a:solidFill>
              </a:rPr>
              <a:t>Включение в план внеурочной деятельности образовательной организации  образовательных событий, направленных на совместную работу всего педагогического коллектива по формированию функциональной грамотности (</a:t>
            </a:r>
            <a:r>
              <a:rPr lang="ru-RU" sz="1100" dirty="0" err="1">
                <a:solidFill>
                  <a:schemeClr val="bg1"/>
                </a:solidFill>
              </a:rPr>
              <a:t>межпредметные</a:t>
            </a:r>
            <a:r>
              <a:rPr lang="ru-RU" sz="1100" dirty="0">
                <a:solidFill>
                  <a:schemeClr val="bg1"/>
                </a:solidFill>
              </a:rPr>
              <a:t> недели, учебно-исследовательские конференции, </a:t>
            </a:r>
            <a:r>
              <a:rPr lang="ru-RU" sz="1100" dirty="0" err="1">
                <a:solidFill>
                  <a:schemeClr val="bg1"/>
                </a:solidFill>
              </a:rPr>
              <a:t>межпредметные</a:t>
            </a:r>
            <a:r>
              <a:rPr lang="ru-RU" sz="1100" dirty="0">
                <a:solidFill>
                  <a:schemeClr val="bg1"/>
                </a:solidFill>
              </a:rPr>
              <a:t> марафоны</a:t>
            </a:r>
            <a:r>
              <a:rPr lang="en-US" sz="1100" dirty="0">
                <a:solidFill>
                  <a:schemeClr val="bg1"/>
                </a:solidFill>
              </a:rPr>
              <a:t> </a:t>
            </a:r>
            <a:r>
              <a:rPr lang="ru-RU" sz="1100" dirty="0">
                <a:solidFill>
                  <a:schemeClr val="bg1"/>
                </a:solidFill>
              </a:rPr>
              <a:t>и т.д.).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3715678" y="6273125"/>
            <a:ext cx="870598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/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Закупка учебных пособий возможна в соответствии со статьей 35 </a:t>
            </a:r>
            <a:endParaRPr lang="ru-RU" sz="1200" b="1" dirty="0" smtClean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0" lvl="1"/>
            <a:r>
              <a:rPr lang="ru-RU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Федерального </a:t>
            </a: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закона от 29.12.2012 № 273-ФЗ «Об образовании в Российской Федерации»</a:t>
            </a:r>
          </a:p>
        </p:txBody>
      </p:sp>
      <p:cxnSp>
        <p:nvCxnSpPr>
          <p:cNvPr id="4" name="Соединительная линия уступом 3"/>
          <p:cNvCxnSpPr/>
          <p:nvPr/>
        </p:nvCxnSpPr>
        <p:spPr>
          <a:xfrm>
            <a:off x="1880757" y="5714562"/>
            <a:ext cx="1597381" cy="641788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/>
        </p:nvCxnSpPr>
        <p:spPr>
          <a:xfrm>
            <a:off x="2657211" y="3080794"/>
            <a:ext cx="0" cy="811401"/>
          </a:xfrm>
          <a:prstGeom prst="lin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/>
        </p:nvCxnSpPr>
        <p:spPr>
          <a:xfrm>
            <a:off x="2657211" y="4468488"/>
            <a:ext cx="0" cy="462357"/>
          </a:xfrm>
          <a:prstGeom prst="lin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32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r>
              <a:rPr lang="ru-RU" dirty="0" smtClean="0"/>
              <a:t>1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84704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47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502309" y="484276"/>
            <a:ext cx="10502068" cy="4678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ункциональная грамотность в контексте ФГОС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7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8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9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0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1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2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9464369" y="5237768"/>
            <a:ext cx="23115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A2D9AC4-09ED-41C8-9B7E-ABA991EBB706}"/>
              </a:ext>
            </a:extLst>
          </p:cNvPr>
          <p:cNvSpPr txBox="1"/>
          <p:nvPr/>
        </p:nvSpPr>
        <p:spPr>
          <a:xfrm>
            <a:off x="436562" y="1530001"/>
            <a:ext cx="10919983" cy="66719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 marL="723900">
              <a:defRPr sz="2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/>
            <a:r>
              <a:rPr lang="ru-RU" dirty="0" smtClean="0"/>
              <a:t>Существующие </a:t>
            </a:r>
            <a:r>
              <a:rPr lang="ru-RU" dirty="0"/>
              <a:t>федеральные нормативные документы включают задачу формирования функциональной </a:t>
            </a:r>
            <a:r>
              <a:rPr lang="ru-RU" dirty="0" smtClean="0"/>
              <a:t>грамотности</a:t>
            </a:r>
            <a:endParaRPr lang="ru-RU" dirty="0"/>
          </a:p>
        </p:txBody>
      </p:sp>
      <p:sp>
        <p:nvSpPr>
          <p:cNvPr id="52" name="Прямоугольник 51"/>
          <p:cNvSpPr/>
          <p:nvPr/>
        </p:nvSpPr>
        <p:spPr>
          <a:xfrm>
            <a:off x="2038067" y="2915535"/>
            <a:ext cx="934805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ФГОС начального общего, основного общего и среднего общего образования 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(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иказы </a:t>
            </a:r>
            <a:r>
              <a:rPr lang="ru-RU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инобрнауки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Ф №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373 от 06.10.2009; № 1897 от 17.12.2010; № 413 от 17.05.2012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)</a:t>
            </a:r>
            <a:endParaRPr lang="ru-RU" sz="1400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73735" name="Picture 7" descr="http://gosmera.ru/upload/files/images/SERT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3851" y="2615297"/>
            <a:ext cx="640973" cy="837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" name="Прямоугольник 53"/>
          <p:cNvSpPr/>
          <p:nvPr/>
        </p:nvSpPr>
        <p:spPr>
          <a:xfrm>
            <a:off x="2038067" y="4181366"/>
            <a:ext cx="932871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имерные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сновные образовательные программы начального, основного и среднего общего образования (одобрены решением федерального учебно-методического объединения по общему образованию протокол от 8 апреля 2015 г. № 1/15, протокол  от 28 июня 2016 г. № 2/16-з)</a:t>
            </a:r>
          </a:p>
        </p:txBody>
      </p:sp>
      <p:pic>
        <p:nvPicPr>
          <p:cNvPr id="55" name="Picture 7" descr="http://gosmera.ru/upload/files/images/SERT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928" y="4148415"/>
            <a:ext cx="640973" cy="837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r>
              <a:rPr lang="ru-RU" dirty="0" smtClean="0"/>
              <a:t>18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08594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84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512633" y="223054"/>
            <a:ext cx="10502068" cy="9356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ункциональная грамотность в контексте национального проекта «Образование»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7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8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9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0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1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2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9464369" y="5237768"/>
            <a:ext cx="23115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A2D9AC4-09ED-41C8-9B7E-ABA991EBB706}"/>
              </a:ext>
            </a:extLst>
          </p:cNvPr>
          <p:cNvSpPr txBox="1"/>
          <p:nvPr/>
        </p:nvSpPr>
        <p:spPr>
          <a:xfrm>
            <a:off x="512633" y="1530001"/>
            <a:ext cx="10474681" cy="94580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 marL="723900">
              <a:defRPr sz="2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/>
            <a:endParaRPr lang="ru-RU" dirty="0"/>
          </a:p>
          <a:p>
            <a:pPr marL="0"/>
            <a:r>
              <a:rPr lang="ru-RU" dirty="0"/>
              <a:t>Формируя функциональную грамотность обучающихся, мы решаем задачи стратегического развития Российской Федерации:</a:t>
            </a:r>
          </a:p>
          <a:p>
            <a:pPr marL="0"/>
            <a:endParaRPr lang="ru-RU" dirty="0"/>
          </a:p>
        </p:txBody>
      </p:sp>
      <p:sp>
        <p:nvSpPr>
          <p:cNvPr id="57" name="TextBox 56"/>
          <p:cNvSpPr txBox="1"/>
          <p:nvPr/>
        </p:nvSpPr>
        <p:spPr>
          <a:xfrm>
            <a:off x="572052" y="2643029"/>
            <a:ext cx="535632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усиление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озиций Российской Федерации в глобальной конкуренции  путем развития человеческого потенциала как основного фактора экономического развития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;</a:t>
            </a:r>
          </a:p>
          <a:p>
            <a:pPr algn="just"/>
            <a:endParaRPr lang="ru-RU" sz="1400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технологическое первенство на мировой арене, усиление роли инноваций в социально-экономическом развитии.</a:t>
            </a: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710627" y="6039901"/>
            <a:ext cx="1183957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Функциональная грамотность </a:t>
            </a:r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– основа </a:t>
            </a: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жизненной и профессиональной успешности выпускников</a:t>
            </a:r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!</a:t>
            </a: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60" name="Группа 59"/>
          <p:cNvGrpSpPr/>
          <p:nvPr/>
        </p:nvGrpSpPr>
        <p:grpSpPr>
          <a:xfrm>
            <a:off x="5935903" y="2464319"/>
            <a:ext cx="5051411" cy="3408356"/>
            <a:chOff x="5939303" y="983978"/>
            <a:chExt cx="6184815" cy="4116026"/>
          </a:xfrm>
        </p:grpSpPr>
        <p:pic>
          <p:nvPicPr>
            <p:cNvPr id="62" name="Picture 18" descr="https://static.tildacdn.com/tild6239-3135-4666-b532-343761643437/karta-min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53164" y="983978"/>
              <a:ext cx="6170954" cy="41160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3" name="Picture 115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39303" y="2934536"/>
              <a:ext cx="285484" cy="35539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cxnSp>
        <p:nvCxnSpPr>
          <p:cNvPr id="64" name="Прямая соединительная линия 63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r>
              <a:rPr lang="ru-RU" dirty="0" smtClean="0"/>
              <a:t>19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0209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68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654967" y="408729"/>
            <a:ext cx="938981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АЦИОНАЛЬНЫЙ ПРОЕКТ  </a:t>
            </a: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«</a:t>
            </a: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БРАЗОВАНИЕ»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682389" y="5757534"/>
            <a:ext cx="462177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роки реализации: 01.01.2019 - 31.12.2024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682389" y="2036745"/>
            <a:ext cx="6458385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ациональный проект «Образование»</a:t>
            </a:r>
            <a:r>
              <a:rPr lang="ru-RU" sz="14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 – это инициатива, направленная на достижение двух ключевых </a:t>
            </a:r>
            <a:r>
              <a:rPr lang="ru-RU" sz="1400" dirty="0" smtClean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целей*. </a:t>
            </a:r>
            <a:endParaRPr lang="ru-RU" sz="1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ru-RU" sz="1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беспечение </a:t>
            </a:r>
            <a:r>
              <a:rPr lang="ru-RU" sz="14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лобальной конкурентоспособности российского образования и вхождение Российской Федерации в число 10 ведущих стран мира по качеству общего образования. </a:t>
            </a:r>
          </a:p>
          <a:p>
            <a:endParaRPr lang="en-US" sz="1400" dirty="0" smtClean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оспитание </a:t>
            </a:r>
            <a:r>
              <a:rPr lang="ru-RU" sz="14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армонично развитой и социально ответственной личности на основе духовно-нравственных ценностей народов Российской Федерации, исторических и национально-культурных традиций.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5496407" y="6596922"/>
            <a:ext cx="1563248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  <a:hlinkClick r:id="rId7"/>
              </a:rPr>
              <a:t>*</a:t>
            </a:r>
            <a:r>
              <a:rPr lang="en-US" sz="700" dirty="0">
                <a:solidFill>
                  <a:schemeClr val="bg1">
                    <a:lumMod val="65000"/>
                  </a:schemeClr>
                </a:solidFill>
                <a:hlinkClick r:id="rId7"/>
              </a:rPr>
              <a:t>https://edu.gov.ru/national-project/</a:t>
            </a:r>
            <a:endParaRPr lang="ru-RU" sz="700" dirty="0">
              <a:solidFill>
                <a:schemeClr val="bg1">
                  <a:lumMod val="65000"/>
                </a:schemeClr>
              </a:solidFill>
            </a:endParaRPr>
          </a:p>
        </p:txBody>
      </p: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2" name="Freeform 6">
              <a:extLst>
                <a:ext uri="{FF2B5EF4-FFF2-40B4-BE49-F238E27FC236}">
                  <a16:creationId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7">
              <a:extLst>
                <a:ext uri="{FF2B5EF4-FFF2-40B4-BE49-F238E27FC236}">
                  <a16:creationId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8">
              <a:extLst>
                <a:ext uri="{FF2B5EF4-FFF2-40B4-BE49-F238E27FC236}">
                  <a16:creationId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9">
              <a:extLst>
                <a:ext uri="{FF2B5EF4-FFF2-40B4-BE49-F238E27FC236}">
                  <a16:creationId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0">
              <a:extLst>
                <a:ext uri="{FF2B5EF4-FFF2-40B4-BE49-F238E27FC236}">
                  <a16:creationId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1">
              <a:extLst>
                <a:ext uri="{FF2B5EF4-FFF2-40B4-BE49-F238E27FC236}">
                  <a16:creationId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2">
              <a:extLst>
                <a:ext uri="{FF2B5EF4-FFF2-40B4-BE49-F238E27FC236}">
                  <a16:creationId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3">
              <a:extLst>
                <a:ext uri="{FF2B5EF4-FFF2-40B4-BE49-F238E27FC236}">
                  <a16:creationId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4">
              <a:extLst>
                <a:ext uri="{FF2B5EF4-FFF2-40B4-BE49-F238E27FC236}">
                  <a16:creationId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5">
              <a:extLst>
                <a:ext uri="{FF2B5EF4-FFF2-40B4-BE49-F238E27FC236}">
                  <a16:creationId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6">
              <a:extLst>
                <a:ext uri="{FF2B5EF4-FFF2-40B4-BE49-F238E27FC236}">
                  <a16:creationId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7">
              <a:extLst>
                <a:ext uri="{FF2B5EF4-FFF2-40B4-BE49-F238E27FC236}">
                  <a16:creationId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pic>
        <p:nvPicPr>
          <p:cNvPr id="63546" name="Picture 58" descr="base-value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7232" y="1324864"/>
            <a:ext cx="2792599" cy="1647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1073251" y="2857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3548" name="Picture 60" descr="base-value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0774" y="3107805"/>
            <a:ext cx="2694160" cy="1589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550" name="Picture 62" descr="base-value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00456" y="4841901"/>
            <a:ext cx="2686840" cy="1584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14367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77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7ED3B4AB-2944-4CB8-974F-92CE170CCDE7}"/>
              </a:ext>
            </a:extLst>
          </p:cNvPr>
          <p:cNvSpPr/>
          <p:nvPr/>
        </p:nvSpPr>
        <p:spPr>
          <a:xfrm rot="10800000">
            <a:off x="7144969" y="0"/>
            <a:ext cx="5080000" cy="6858000"/>
          </a:xfrm>
          <a:prstGeom prst="rect">
            <a:avLst/>
          </a:prstGeom>
          <a:gradFill>
            <a:gsLst>
              <a:gs pos="0">
                <a:srgbClr val="00B0F0"/>
              </a:gs>
              <a:gs pos="88000">
                <a:srgbClr val="2D2B8D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21DBF65-A5EE-42BD-A8DA-21D7B69EA723}"/>
              </a:ext>
            </a:extLst>
          </p:cNvPr>
          <p:cNvSpPr txBox="1"/>
          <p:nvPr/>
        </p:nvSpPr>
        <p:spPr>
          <a:xfrm>
            <a:off x="223936" y="631285"/>
            <a:ext cx="6921034" cy="140346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омплексное предложение</a:t>
            </a:r>
          </a:p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руппы компаний «Просвещение»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8664019" y="3832267"/>
            <a:ext cx="3430368" cy="9848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6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урсы повышения квалификации педагогических работников от Академии «Просвещение» 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8592578" y="1225597"/>
            <a:ext cx="3520904" cy="9848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600" b="1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оздание </a:t>
            </a:r>
            <a:r>
              <a:rPr lang="ru-RU" sz="16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истемы методической поддержки педагогов </a:t>
            </a:r>
            <a:r>
              <a:rPr lang="ru-RU" sz="1600" b="1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руппой компаний «Просвещение»</a:t>
            </a:r>
          </a:p>
        </p:txBody>
      </p:sp>
      <p:sp>
        <p:nvSpPr>
          <p:cNvPr id="47" name="Овал 46">
            <a:extLst>
              <a:ext uri="{FF2B5EF4-FFF2-40B4-BE49-F238E27FC236}">
                <a16:creationId xmlns:a16="http://schemas.microsoft.com/office/drawing/2014/main" id="{B48C6D04-AF65-4200-984F-141429971FDF}"/>
              </a:ext>
            </a:extLst>
          </p:cNvPr>
          <p:cNvSpPr/>
          <p:nvPr/>
        </p:nvSpPr>
        <p:spPr>
          <a:xfrm>
            <a:off x="7549827" y="1630252"/>
            <a:ext cx="728340" cy="728336"/>
          </a:xfrm>
          <a:prstGeom prst="ellips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rtlCol="0" anchor="ctr"/>
          <a:lstStyle/>
          <a:p>
            <a:pPr algn="ctr"/>
            <a:endParaRPr lang="ru-RU" sz="2800" dirty="0">
              <a:solidFill>
                <a:schemeClr val="bg1">
                  <a:lumMod val="85000"/>
                </a:schemeClr>
              </a:solidFill>
              <a:latin typeface="Open Sans Extrabold" panose="020B0906030804020204" pitchFamily="34" charset="0"/>
              <a:ea typeface="Open Sans Extrabold" panose="020B0906030804020204" pitchFamily="34" charset="0"/>
              <a:cs typeface="Open Sans Extrabold" panose="020B0906030804020204" pitchFamily="34" charset="0"/>
            </a:endParaRPr>
          </a:p>
        </p:txBody>
      </p:sp>
      <p:grpSp>
        <p:nvGrpSpPr>
          <p:cNvPr id="38" name="Группа 37">
            <a:extLst>
              <a:ext uri="{FF2B5EF4-FFF2-40B4-BE49-F238E27FC236}">
                <a16:creationId xmlns:a16="http://schemas.microsoft.com/office/drawing/2014/main" id="{CE17528F-A29B-4404-8508-AC7A0AD4D1C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40" name="Freeform 6">
              <a:extLst>
                <a:ext uri="{FF2B5EF4-FFF2-40B4-BE49-F238E27FC236}">
                  <a16:creationId xmlns:a16="http://schemas.microsoft.com/office/drawing/2014/main" id="{D4FC10EE-9BC1-4B37-9730-6D1A148B1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2" name="Freeform 7">
              <a:extLst>
                <a:ext uri="{FF2B5EF4-FFF2-40B4-BE49-F238E27FC236}">
                  <a16:creationId xmlns:a16="http://schemas.microsoft.com/office/drawing/2014/main" id="{EBEEF818-38BD-480A-9B22-1E814DE8779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8">
              <a:extLst>
                <a:ext uri="{FF2B5EF4-FFF2-40B4-BE49-F238E27FC236}">
                  <a16:creationId xmlns:a16="http://schemas.microsoft.com/office/drawing/2014/main" id="{3F757E91-633C-45E0-8E38-8F8940BB5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9">
              <a:extLst>
                <a:ext uri="{FF2B5EF4-FFF2-40B4-BE49-F238E27FC236}">
                  <a16:creationId xmlns:a16="http://schemas.microsoft.com/office/drawing/2014/main" id="{43E418C2-BD46-4515-B203-BC19D5A409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10">
              <a:extLst>
                <a:ext uri="{FF2B5EF4-FFF2-40B4-BE49-F238E27FC236}">
                  <a16:creationId xmlns:a16="http://schemas.microsoft.com/office/drawing/2014/main" id="{D927D5A2-27B3-4185-841E-72E7A2E8CA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1">
              <a:extLst>
                <a:ext uri="{FF2B5EF4-FFF2-40B4-BE49-F238E27FC236}">
                  <a16:creationId xmlns:a16="http://schemas.microsoft.com/office/drawing/2014/main" id="{F2C50053-02A3-4CA9-8B8A-3A2F25C54D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6" name="Freeform 12">
              <a:extLst>
                <a:ext uri="{FF2B5EF4-FFF2-40B4-BE49-F238E27FC236}">
                  <a16:creationId xmlns:a16="http://schemas.microsoft.com/office/drawing/2014/main" id="{66D9BFA1-07F9-4E54-8E46-76E1DB27762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3">
              <a:extLst>
                <a:ext uri="{FF2B5EF4-FFF2-40B4-BE49-F238E27FC236}">
                  <a16:creationId xmlns:a16="http://schemas.microsoft.com/office/drawing/2014/main" id="{E2F91430-0D62-4CE5-9911-3ED799953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8" name="Freeform 14">
              <a:extLst>
                <a:ext uri="{FF2B5EF4-FFF2-40B4-BE49-F238E27FC236}">
                  <a16:creationId xmlns:a16="http://schemas.microsoft.com/office/drawing/2014/main" id="{65C1C419-F34D-4D7B-BAC6-5519BC1C58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5">
              <a:extLst>
                <a:ext uri="{FF2B5EF4-FFF2-40B4-BE49-F238E27FC236}">
                  <a16:creationId xmlns:a16="http://schemas.microsoft.com/office/drawing/2014/main" id="{ECC60C61-68E9-4E64-89DB-EE405C87F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6">
              <a:extLst>
                <a:ext uri="{FF2B5EF4-FFF2-40B4-BE49-F238E27FC236}">
                  <a16:creationId xmlns:a16="http://schemas.microsoft.com/office/drawing/2014/main" id="{D25F7B16-4431-4A80-ABCB-743E2C96FD3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7">
              <a:extLst>
                <a:ext uri="{FF2B5EF4-FFF2-40B4-BE49-F238E27FC236}">
                  <a16:creationId xmlns:a16="http://schemas.microsoft.com/office/drawing/2014/main" id="{47569852-DE14-4E5C-B2D1-E9F307F66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8">
              <a:extLst>
                <a:ext uri="{FF2B5EF4-FFF2-40B4-BE49-F238E27FC236}">
                  <a16:creationId xmlns:a16="http://schemas.microsoft.com/office/drawing/2014/main" id="{2558E6B6-983C-43F9-B70B-EB2F51FB78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9">
              <a:extLst>
                <a:ext uri="{FF2B5EF4-FFF2-40B4-BE49-F238E27FC236}">
                  <a16:creationId xmlns:a16="http://schemas.microsoft.com/office/drawing/2014/main" id="{F38339E7-E7FF-401A-A81A-D796CD4E3F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8566406" y="2448200"/>
            <a:ext cx="3573249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астер-классы и педагогические мастерские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аучно-практические сессии по обмену и тиражированию опыта</a:t>
            </a:r>
          </a:p>
        </p:txBody>
      </p:sp>
      <p:pic>
        <p:nvPicPr>
          <p:cNvPr id="55" name="Рисунок 54" descr="Отзыв заказчика">
            <a:extLst>
              <a:ext uri="{FF2B5EF4-FFF2-40B4-BE49-F238E27FC236}">
                <a16:creationId xmlns:a16="http://schemas.microsoft.com/office/drawing/2014/main" id="{DF1AC323-3F64-4719-BA68-02DA6FB42D4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5"/>
              </a:ext>
            </a:extLst>
          </a:blip>
          <a:stretch>
            <a:fillRect/>
          </a:stretch>
        </p:blipFill>
        <p:spPr>
          <a:xfrm>
            <a:off x="7743826" y="1801978"/>
            <a:ext cx="400737" cy="400737"/>
          </a:xfrm>
          <a:prstGeom prst="rect">
            <a:avLst/>
          </a:prstGeom>
        </p:spPr>
      </p:pic>
      <p:grpSp>
        <p:nvGrpSpPr>
          <p:cNvPr id="8" name="Группа 7"/>
          <p:cNvGrpSpPr/>
          <p:nvPr/>
        </p:nvGrpSpPr>
        <p:grpSpPr>
          <a:xfrm>
            <a:off x="7592884" y="3931744"/>
            <a:ext cx="728340" cy="728336"/>
            <a:chOff x="7580025" y="4295912"/>
            <a:chExt cx="728340" cy="728336"/>
          </a:xfrm>
        </p:grpSpPr>
        <p:sp>
          <p:nvSpPr>
            <p:cNvPr id="39" name="Овал 38">
              <a:extLst>
                <a:ext uri="{FF2B5EF4-FFF2-40B4-BE49-F238E27FC236}">
                  <a16:creationId xmlns:a16="http://schemas.microsoft.com/office/drawing/2014/main" id="{65D30833-B574-4D1C-84C1-EFEF154FB176}"/>
                </a:ext>
              </a:extLst>
            </p:cNvPr>
            <p:cNvSpPr/>
            <p:nvPr/>
          </p:nvSpPr>
          <p:spPr>
            <a:xfrm>
              <a:off x="7580025" y="4295912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ru-RU" sz="2800" dirty="0">
                <a:solidFill>
                  <a:schemeClr val="bg1">
                    <a:lumMod val="85000"/>
                  </a:scheme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57" name="Рисунок 56" descr="Профессор">
              <a:extLst>
                <a:ext uri="{FF2B5EF4-FFF2-40B4-BE49-F238E27FC236}">
                  <a16:creationId xmlns:a16="http://schemas.microsoft.com/office/drawing/2014/main" id="{3579773E-1994-4EF6-87B2-0BFE8EF1C531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3"/>
                </a:ext>
              </a:extLst>
            </a:blip>
            <a:stretch>
              <a:fillRect/>
            </a:stretch>
          </p:blipFill>
          <p:spPr>
            <a:xfrm>
              <a:off x="7714242" y="4430128"/>
              <a:ext cx="459904" cy="459904"/>
            </a:xfrm>
            <a:prstGeom prst="rect">
              <a:avLst/>
            </a:prstGeom>
          </p:spPr>
        </p:pic>
      </p:grpSp>
      <p:grpSp>
        <p:nvGrpSpPr>
          <p:cNvPr id="41" name="Группа 40"/>
          <p:cNvGrpSpPr/>
          <p:nvPr/>
        </p:nvGrpSpPr>
        <p:grpSpPr>
          <a:xfrm>
            <a:off x="488377" y="2030777"/>
            <a:ext cx="2365918" cy="2259212"/>
            <a:chOff x="576953" y="1807568"/>
            <a:chExt cx="1781664" cy="1781664"/>
          </a:xfrm>
        </p:grpSpPr>
        <p:pic>
          <p:nvPicPr>
            <p:cNvPr id="46" name="Picture Placeholder 6">
              <a:extLst>
                <a:ext uri="{FF2B5EF4-FFF2-40B4-BE49-F238E27FC236}">
                  <a16:creationId xmlns:a16="http://schemas.microsoft.com/office/drawing/2014/main" id="{D5CF06A1-3E21-43E6-96A2-E92C80299C1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113" r="16113"/>
            <a:stretch/>
          </p:blipFill>
          <p:spPr>
            <a:xfrm>
              <a:off x="576953" y="1807568"/>
              <a:ext cx="1781664" cy="1781664"/>
            </a:xfrm>
            <a:prstGeom prst="ellipse">
              <a:avLst/>
            </a:prstGeom>
          </p:spPr>
        </p:pic>
        <p:sp>
          <p:nvSpPr>
            <p:cNvPr id="48" name="Овал 47">
              <a:extLst>
                <a:ext uri="{FF2B5EF4-FFF2-40B4-BE49-F238E27FC236}">
                  <a16:creationId xmlns:a16="http://schemas.microsoft.com/office/drawing/2014/main" id="{991C8B54-88FB-4F09-AE1C-FC33EA7226B2}"/>
                </a:ext>
              </a:extLst>
            </p:cNvPr>
            <p:cNvSpPr/>
            <p:nvPr/>
          </p:nvSpPr>
          <p:spPr>
            <a:xfrm>
              <a:off x="576953" y="1807568"/>
              <a:ext cx="1781664" cy="1781664"/>
            </a:xfrm>
            <a:prstGeom prst="ellipse">
              <a:avLst/>
            </a:prstGeom>
            <a:solidFill>
              <a:schemeClr val="tx1">
                <a:alpha val="2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4160719727"/>
              </p:ext>
            </p:extLst>
          </p:nvPr>
        </p:nvGraphicFramePr>
        <p:xfrm>
          <a:off x="2543847" y="1323991"/>
          <a:ext cx="5643158" cy="37128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graphicFrame>
        <p:nvGraphicFramePr>
          <p:cNvPr id="7" name="Схема 6"/>
          <p:cNvGraphicFramePr/>
          <p:nvPr>
            <p:extLst>
              <p:ext uri="{D42A27DB-BD31-4B8C-83A1-F6EECF244321}">
                <p14:modId xmlns:p14="http://schemas.microsoft.com/office/powerpoint/2010/main" val="480651406"/>
              </p:ext>
            </p:extLst>
          </p:nvPr>
        </p:nvGraphicFramePr>
        <p:xfrm>
          <a:off x="1580972" y="2413440"/>
          <a:ext cx="8822033" cy="47508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3" r:lo="rId24" r:qs="rId25" r:cs="rId26"/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chemeClr val="bg1"/>
                </a:solidFill>
              </a:rPr>
              <a:pPr/>
              <a:t>20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58195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930290"/>
            <a:ext cx="12192000" cy="1325563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ервисы </a:t>
            </a: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ля </a:t>
            </a: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едагогов на сайте</a:t>
            </a:r>
            <a:b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руппы компаний «Просвещение»</a:t>
            </a:r>
            <a:r>
              <a:rPr lang="en-US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en-US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sv.ru</a:t>
            </a: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b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7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" name="Freeform 6"/>
          <p:cNvSpPr>
            <a:spLocks/>
          </p:cNvSpPr>
          <p:nvPr/>
        </p:nvSpPr>
        <p:spPr bwMode="auto">
          <a:xfrm>
            <a:off x="10104558" y="546724"/>
            <a:ext cx="576131" cy="33206"/>
          </a:xfrm>
          <a:custGeom>
            <a:avLst/>
            <a:gdLst/>
            <a:ahLst/>
            <a:cxnLst>
              <a:cxn ang="0">
                <a:pos x="1505" y="0"/>
              </a:cxn>
              <a:cxn ang="0">
                <a:pos x="0" y="0"/>
              </a:cxn>
              <a:cxn ang="0">
                <a:pos x="0" y="84"/>
              </a:cxn>
              <a:cxn ang="0">
                <a:pos x="1509" y="84"/>
              </a:cxn>
              <a:cxn ang="0">
                <a:pos x="1505" y="0"/>
              </a:cxn>
            </a:cxnLst>
            <a:rect l="0" t="0" r="r" b="b"/>
            <a:pathLst>
              <a:path w="1509" h="84">
                <a:moveTo>
                  <a:pt x="1505" y="0"/>
                </a:moveTo>
                <a:lnTo>
                  <a:pt x="0" y="0"/>
                </a:lnTo>
                <a:lnTo>
                  <a:pt x="0" y="84"/>
                </a:lnTo>
                <a:lnTo>
                  <a:pt x="1509" y="84"/>
                </a:lnTo>
                <a:lnTo>
                  <a:pt x="1505" y="0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7" name="Freeform 7"/>
          <p:cNvSpPr>
            <a:spLocks/>
          </p:cNvSpPr>
          <p:nvPr/>
        </p:nvSpPr>
        <p:spPr bwMode="auto">
          <a:xfrm>
            <a:off x="11029357" y="546724"/>
            <a:ext cx="576131" cy="33206"/>
          </a:xfrm>
          <a:custGeom>
            <a:avLst/>
            <a:gdLst/>
            <a:ahLst/>
            <a:cxnLst>
              <a:cxn ang="0">
                <a:pos x="1510" y="0"/>
              </a:cxn>
              <a:cxn ang="0">
                <a:pos x="9" y="0"/>
              </a:cxn>
              <a:cxn ang="0">
                <a:pos x="0" y="84"/>
              </a:cxn>
              <a:cxn ang="0">
                <a:pos x="1510" y="84"/>
              </a:cxn>
              <a:cxn ang="0">
                <a:pos x="1510" y="0"/>
              </a:cxn>
            </a:cxnLst>
            <a:rect l="0" t="0" r="r" b="b"/>
            <a:pathLst>
              <a:path w="1510" h="84">
                <a:moveTo>
                  <a:pt x="1510" y="0"/>
                </a:moveTo>
                <a:lnTo>
                  <a:pt x="9" y="0"/>
                </a:lnTo>
                <a:lnTo>
                  <a:pt x="0" y="84"/>
                </a:lnTo>
                <a:lnTo>
                  <a:pt x="1510" y="84"/>
                </a:lnTo>
                <a:lnTo>
                  <a:pt x="1510" y="0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8" name="Freeform 8"/>
          <p:cNvSpPr>
            <a:spLocks/>
          </p:cNvSpPr>
          <p:nvPr/>
        </p:nvSpPr>
        <p:spPr bwMode="auto">
          <a:xfrm>
            <a:off x="10099577" y="666268"/>
            <a:ext cx="131166" cy="122864"/>
          </a:xfrm>
          <a:custGeom>
            <a:avLst/>
            <a:gdLst/>
            <a:ahLst/>
            <a:cxnLst>
              <a:cxn ang="0">
                <a:pos x="0" y="17"/>
              </a:cxn>
              <a:cxn ang="0">
                <a:pos x="42" y="26"/>
              </a:cxn>
              <a:cxn ang="0">
                <a:pos x="42" y="283"/>
              </a:cxn>
              <a:cxn ang="0">
                <a:pos x="0" y="292"/>
              </a:cxn>
              <a:cxn ang="0">
                <a:pos x="0" y="309"/>
              </a:cxn>
              <a:cxn ang="0">
                <a:pos x="148" y="309"/>
              </a:cxn>
              <a:cxn ang="0">
                <a:pos x="148" y="292"/>
              </a:cxn>
              <a:cxn ang="0">
                <a:pos x="106" y="283"/>
              </a:cxn>
              <a:cxn ang="0">
                <a:pos x="106" y="30"/>
              </a:cxn>
              <a:cxn ang="0">
                <a:pos x="232" y="30"/>
              </a:cxn>
              <a:cxn ang="0">
                <a:pos x="232" y="283"/>
              </a:cxn>
              <a:cxn ang="0">
                <a:pos x="190" y="292"/>
              </a:cxn>
              <a:cxn ang="0">
                <a:pos x="190" y="309"/>
              </a:cxn>
              <a:cxn ang="0">
                <a:pos x="342" y="309"/>
              </a:cxn>
              <a:cxn ang="0">
                <a:pos x="342" y="292"/>
              </a:cxn>
              <a:cxn ang="0">
                <a:pos x="300" y="283"/>
              </a:cxn>
              <a:cxn ang="0">
                <a:pos x="300" y="26"/>
              </a:cxn>
              <a:cxn ang="0">
                <a:pos x="342" y="17"/>
              </a:cxn>
              <a:cxn ang="0">
                <a:pos x="342" y="0"/>
              </a:cxn>
              <a:cxn ang="0">
                <a:pos x="0" y="0"/>
              </a:cxn>
              <a:cxn ang="0">
                <a:pos x="0" y="17"/>
              </a:cxn>
            </a:cxnLst>
            <a:rect l="0" t="0" r="r" b="b"/>
            <a:pathLst>
              <a:path w="342" h="309">
                <a:moveTo>
                  <a:pt x="0" y="17"/>
                </a:moveTo>
                <a:lnTo>
                  <a:pt x="42" y="26"/>
                </a:lnTo>
                <a:lnTo>
                  <a:pt x="42" y="283"/>
                </a:lnTo>
                <a:lnTo>
                  <a:pt x="0" y="292"/>
                </a:lnTo>
                <a:lnTo>
                  <a:pt x="0" y="309"/>
                </a:lnTo>
                <a:lnTo>
                  <a:pt x="148" y="309"/>
                </a:lnTo>
                <a:lnTo>
                  <a:pt x="148" y="292"/>
                </a:lnTo>
                <a:lnTo>
                  <a:pt x="106" y="283"/>
                </a:lnTo>
                <a:lnTo>
                  <a:pt x="106" y="30"/>
                </a:lnTo>
                <a:lnTo>
                  <a:pt x="232" y="30"/>
                </a:lnTo>
                <a:lnTo>
                  <a:pt x="232" y="283"/>
                </a:lnTo>
                <a:lnTo>
                  <a:pt x="190" y="292"/>
                </a:lnTo>
                <a:lnTo>
                  <a:pt x="190" y="309"/>
                </a:lnTo>
                <a:lnTo>
                  <a:pt x="342" y="309"/>
                </a:lnTo>
                <a:lnTo>
                  <a:pt x="342" y="292"/>
                </a:lnTo>
                <a:lnTo>
                  <a:pt x="300" y="283"/>
                </a:lnTo>
                <a:lnTo>
                  <a:pt x="300" y="26"/>
                </a:lnTo>
                <a:lnTo>
                  <a:pt x="342" y="17"/>
                </a:lnTo>
                <a:lnTo>
                  <a:pt x="342" y="0"/>
                </a:lnTo>
                <a:lnTo>
                  <a:pt x="0" y="0"/>
                </a:lnTo>
                <a:lnTo>
                  <a:pt x="0" y="17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" name="Freeform 9"/>
          <p:cNvSpPr>
            <a:spLocks noEditPoints="1"/>
          </p:cNvSpPr>
          <p:nvPr/>
        </p:nvSpPr>
        <p:spPr bwMode="auto">
          <a:xfrm>
            <a:off x="10253987" y="666268"/>
            <a:ext cx="89658" cy="122864"/>
          </a:xfrm>
          <a:custGeom>
            <a:avLst/>
            <a:gdLst/>
            <a:ahLst/>
            <a:cxnLst>
              <a:cxn ang="0">
                <a:pos x="148" y="0"/>
              </a:cxn>
              <a:cxn ang="0">
                <a:pos x="139" y="0"/>
              </a:cxn>
              <a:cxn ang="0">
                <a:pos x="0" y="0"/>
              </a:cxn>
              <a:cxn ang="0">
                <a:pos x="0" y="17"/>
              </a:cxn>
              <a:cxn ang="0">
                <a:pos x="38" y="26"/>
              </a:cxn>
              <a:cxn ang="0">
                <a:pos x="38" y="283"/>
              </a:cxn>
              <a:cxn ang="0">
                <a:pos x="0" y="292"/>
              </a:cxn>
              <a:cxn ang="0">
                <a:pos x="0" y="309"/>
              </a:cxn>
              <a:cxn ang="0">
                <a:pos x="139" y="309"/>
              </a:cxn>
              <a:cxn ang="0">
                <a:pos x="156" y="309"/>
              </a:cxn>
              <a:cxn ang="0">
                <a:pos x="156" y="292"/>
              </a:cxn>
              <a:cxn ang="0">
                <a:pos x="139" y="288"/>
              </a:cxn>
              <a:cxn ang="0">
                <a:pos x="101" y="283"/>
              </a:cxn>
              <a:cxn ang="0">
                <a:pos x="101" y="178"/>
              </a:cxn>
              <a:cxn ang="0">
                <a:pos x="127" y="178"/>
              </a:cxn>
              <a:cxn ang="0">
                <a:pos x="139" y="178"/>
              </a:cxn>
              <a:cxn ang="0">
                <a:pos x="236" y="81"/>
              </a:cxn>
              <a:cxn ang="0">
                <a:pos x="148" y="0"/>
              </a:cxn>
              <a:cxn ang="0">
                <a:pos x="139" y="161"/>
              </a:cxn>
              <a:cxn ang="0">
                <a:pos x="139" y="161"/>
              </a:cxn>
              <a:cxn ang="0">
                <a:pos x="118" y="161"/>
              </a:cxn>
              <a:cxn ang="0">
                <a:pos x="101" y="161"/>
              </a:cxn>
              <a:cxn ang="0">
                <a:pos x="101" y="21"/>
              </a:cxn>
              <a:cxn ang="0">
                <a:pos x="118" y="21"/>
              </a:cxn>
              <a:cxn ang="0">
                <a:pos x="139" y="26"/>
              </a:cxn>
              <a:cxn ang="0">
                <a:pos x="173" y="93"/>
              </a:cxn>
              <a:cxn ang="0">
                <a:pos x="139" y="161"/>
              </a:cxn>
            </a:cxnLst>
            <a:rect l="0" t="0" r="r" b="b"/>
            <a:pathLst>
              <a:path w="236" h="309">
                <a:moveTo>
                  <a:pt x="148" y="0"/>
                </a:moveTo>
                <a:lnTo>
                  <a:pt x="139" y="0"/>
                </a:lnTo>
                <a:lnTo>
                  <a:pt x="0" y="0"/>
                </a:lnTo>
                <a:lnTo>
                  <a:pt x="0" y="17"/>
                </a:lnTo>
                <a:lnTo>
                  <a:pt x="38" y="26"/>
                </a:lnTo>
                <a:lnTo>
                  <a:pt x="38" y="283"/>
                </a:lnTo>
                <a:lnTo>
                  <a:pt x="0" y="292"/>
                </a:lnTo>
                <a:lnTo>
                  <a:pt x="0" y="309"/>
                </a:lnTo>
                <a:lnTo>
                  <a:pt x="139" y="309"/>
                </a:lnTo>
                <a:lnTo>
                  <a:pt x="156" y="309"/>
                </a:lnTo>
                <a:lnTo>
                  <a:pt x="156" y="292"/>
                </a:lnTo>
                <a:lnTo>
                  <a:pt x="139" y="288"/>
                </a:lnTo>
                <a:lnTo>
                  <a:pt x="101" y="283"/>
                </a:lnTo>
                <a:lnTo>
                  <a:pt x="101" y="178"/>
                </a:lnTo>
                <a:lnTo>
                  <a:pt x="127" y="178"/>
                </a:lnTo>
                <a:lnTo>
                  <a:pt x="139" y="178"/>
                </a:lnTo>
                <a:cubicBezTo>
                  <a:pt x="203" y="174"/>
                  <a:pt x="236" y="144"/>
                  <a:pt x="236" y="81"/>
                </a:cubicBezTo>
                <a:cubicBezTo>
                  <a:pt x="236" y="26"/>
                  <a:pt x="198" y="0"/>
                  <a:pt x="148" y="0"/>
                </a:cubicBezTo>
                <a:close/>
                <a:moveTo>
                  <a:pt x="139" y="161"/>
                </a:moveTo>
                <a:lnTo>
                  <a:pt x="139" y="161"/>
                </a:lnTo>
                <a:lnTo>
                  <a:pt x="118" y="161"/>
                </a:lnTo>
                <a:lnTo>
                  <a:pt x="101" y="161"/>
                </a:lnTo>
                <a:lnTo>
                  <a:pt x="101" y="21"/>
                </a:lnTo>
                <a:lnTo>
                  <a:pt x="118" y="21"/>
                </a:lnTo>
                <a:cubicBezTo>
                  <a:pt x="122" y="21"/>
                  <a:pt x="131" y="21"/>
                  <a:pt x="139" y="26"/>
                </a:cubicBezTo>
                <a:cubicBezTo>
                  <a:pt x="156" y="30"/>
                  <a:pt x="173" y="51"/>
                  <a:pt x="173" y="93"/>
                </a:cubicBezTo>
                <a:cubicBezTo>
                  <a:pt x="173" y="123"/>
                  <a:pt x="165" y="152"/>
                  <a:pt x="139" y="161"/>
                </a:cubicBez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Freeform 10"/>
          <p:cNvSpPr>
            <a:spLocks noEditPoints="1"/>
          </p:cNvSpPr>
          <p:nvPr/>
        </p:nvSpPr>
        <p:spPr bwMode="auto">
          <a:xfrm>
            <a:off x="10368549" y="664607"/>
            <a:ext cx="121204" cy="126184"/>
          </a:xfrm>
          <a:custGeom>
            <a:avLst/>
            <a:gdLst/>
            <a:ahLst/>
            <a:cxnLst>
              <a:cxn ang="0">
                <a:pos x="160" y="0"/>
              </a:cxn>
              <a:cxn ang="0">
                <a:pos x="156" y="0"/>
              </a:cxn>
              <a:cxn ang="0">
                <a:pos x="0" y="156"/>
              </a:cxn>
              <a:cxn ang="0">
                <a:pos x="156" y="317"/>
              </a:cxn>
              <a:cxn ang="0">
                <a:pos x="160" y="317"/>
              </a:cxn>
              <a:cxn ang="0">
                <a:pos x="317" y="156"/>
              </a:cxn>
              <a:cxn ang="0">
                <a:pos x="160" y="0"/>
              </a:cxn>
              <a:cxn ang="0">
                <a:pos x="160" y="300"/>
              </a:cxn>
              <a:cxn ang="0">
                <a:pos x="160" y="300"/>
              </a:cxn>
              <a:cxn ang="0">
                <a:pos x="156" y="300"/>
              </a:cxn>
              <a:cxn ang="0">
                <a:pos x="72" y="148"/>
              </a:cxn>
              <a:cxn ang="0">
                <a:pos x="156" y="17"/>
              </a:cxn>
              <a:cxn ang="0">
                <a:pos x="245" y="169"/>
              </a:cxn>
              <a:cxn ang="0">
                <a:pos x="160" y="300"/>
              </a:cxn>
            </a:cxnLst>
            <a:rect l="0" t="0" r="r" b="b"/>
            <a:pathLst>
              <a:path w="317" h="317">
                <a:moveTo>
                  <a:pt x="160" y="0"/>
                </a:moveTo>
                <a:lnTo>
                  <a:pt x="156" y="0"/>
                </a:lnTo>
                <a:cubicBezTo>
                  <a:pt x="55" y="0"/>
                  <a:pt x="0" y="55"/>
                  <a:pt x="0" y="156"/>
                </a:cubicBezTo>
                <a:cubicBezTo>
                  <a:pt x="0" y="262"/>
                  <a:pt x="55" y="317"/>
                  <a:pt x="156" y="317"/>
                </a:cubicBezTo>
                <a:lnTo>
                  <a:pt x="160" y="317"/>
                </a:lnTo>
                <a:cubicBezTo>
                  <a:pt x="258" y="317"/>
                  <a:pt x="317" y="262"/>
                  <a:pt x="317" y="156"/>
                </a:cubicBezTo>
                <a:cubicBezTo>
                  <a:pt x="317" y="55"/>
                  <a:pt x="262" y="0"/>
                  <a:pt x="160" y="0"/>
                </a:cubicBezTo>
                <a:close/>
                <a:moveTo>
                  <a:pt x="160" y="300"/>
                </a:moveTo>
                <a:lnTo>
                  <a:pt x="160" y="300"/>
                </a:lnTo>
                <a:lnTo>
                  <a:pt x="156" y="300"/>
                </a:lnTo>
                <a:cubicBezTo>
                  <a:pt x="110" y="296"/>
                  <a:pt x="72" y="258"/>
                  <a:pt x="72" y="148"/>
                </a:cubicBezTo>
                <a:cubicBezTo>
                  <a:pt x="72" y="55"/>
                  <a:pt x="106" y="21"/>
                  <a:pt x="156" y="17"/>
                </a:cubicBezTo>
                <a:cubicBezTo>
                  <a:pt x="207" y="21"/>
                  <a:pt x="245" y="63"/>
                  <a:pt x="245" y="169"/>
                </a:cubicBezTo>
                <a:cubicBezTo>
                  <a:pt x="245" y="232"/>
                  <a:pt x="220" y="300"/>
                  <a:pt x="160" y="300"/>
                </a:cubicBez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1" name="Freeform 11"/>
          <p:cNvSpPr>
            <a:spLocks/>
          </p:cNvSpPr>
          <p:nvPr/>
        </p:nvSpPr>
        <p:spPr bwMode="auto">
          <a:xfrm>
            <a:off x="10517978" y="664607"/>
            <a:ext cx="111241" cy="126184"/>
          </a:xfrm>
          <a:custGeom>
            <a:avLst/>
            <a:gdLst/>
            <a:ahLst/>
            <a:cxnLst>
              <a:cxn ang="0">
                <a:pos x="190" y="296"/>
              </a:cxn>
              <a:cxn ang="0">
                <a:pos x="72" y="156"/>
              </a:cxn>
              <a:cxn ang="0">
                <a:pos x="173" y="21"/>
              </a:cxn>
              <a:cxn ang="0">
                <a:pos x="266" y="101"/>
              </a:cxn>
              <a:cxn ang="0">
                <a:pos x="283" y="101"/>
              </a:cxn>
              <a:cxn ang="0">
                <a:pos x="283" y="17"/>
              </a:cxn>
              <a:cxn ang="0">
                <a:pos x="262" y="17"/>
              </a:cxn>
              <a:cxn ang="0">
                <a:pos x="165" y="0"/>
              </a:cxn>
              <a:cxn ang="0">
                <a:pos x="0" y="152"/>
              </a:cxn>
              <a:cxn ang="0">
                <a:pos x="165" y="317"/>
              </a:cxn>
              <a:cxn ang="0">
                <a:pos x="292" y="287"/>
              </a:cxn>
              <a:cxn ang="0">
                <a:pos x="292" y="241"/>
              </a:cxn>
              <a:cxn ang="0">
                <a:pos x="283" y="241"/>
              </a:cxn>
              <a:cxn ang="0">
                <a:pos x="190" y="296"/>
              </a:cxn>
            </a:cxnLst>
            <a:rect l="0" t="0" r="r" b="b"/>
            <a:pathLst>
              <a:path w="292" h="317">
                <a:moveTo>
                  <a:pt x="190" y="296"/>
                </a:moveTo>
                <a:cubicBezTo>
                  <a:pt x="114" y="296"/>
                  <a:pt x="72" y="224"/>
                  <a:pt x="72" y="156"/>
                </a:cubicBezTo>
                <a:cubicBezTo>
                  <a:pt x="72" y="80"/>
                  <a:pt x="110" y="21"/>
                  <a:pt x="173" y="21"/>
                </a:cubicBezTo>
                <a:cubicBezTo>
                  <a:pt x="224" y="21"/>
                  <a:pt x="258" y="51"/>
                  <a:pt x="266" y="101"/>
                </a:cubicBezTo>
                <a:lnTo>
                  <a:pt x="283" y="101"/>
                </a:lnTo>
                <a:lnTo>
                  <a:pt x="283" y="17"/>
                </a:lnTo>
                <a:lnTo>
                  <a:pt x="262" y="17"/>
                </a:lnTo>
                <a:cubicBezTo>
                  <a:pt x="233" y="8"/>
                  <a:pt x="199" y="0"/>
                  <a:pt x="165" y="0"/>
                </a:cubicBezTo>
                <a:cubicBezTo>
                  <a:pt x="76" y="0"/>
                  <a:pt x="0" y="47"/>
                  <a:pt x="0" y="152"/>
                </a:cubicBezTo>
                <a:cubicBezTo>
                  <a:pt x="0" y="254"/>
                  <a:pt x="68" y="317"/>
                  <a:pt x="165" y="317"/>
                </a:cubicBezTo>
                <a:cubicBezTo>
                  <a:pt x="237" y="317"/>
                  <a:pt x="262" y="300"/>
                  <a:pt x="292" y="287"/>
                </a:cubicBezTo>
                <a:lnTo>
                  <a:pt x="292" y="241"/>
                </a:lnTo>
                <a:lnTo>
                  <a:pt x="283" y="241"/>
                </a:lnTo>
                <a:cubicBezTo>
                  <a:pt x="271" y="279"/>
                  <a:pt x="228" y="296"/>
                  <a:pt x="190" y="296"/>
                </a:cubicBez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2" name="Freeform 12"/>
          <p:cNvSpPr>
            <a:spLocks noEditPoints="1"/>
          </p:cNvSpPr>
          <p:nvPr/>
        </p:nvSpPr>
        <p:spPr bwMode="auto">
          <a:xfrm>
            <a:off x="10654125" y="666268"/>
            <a:ext cx="96299" cy="122864"/>
          </a:xfrm>
          <a:custGeom>
            <a:avLst/>
            <a:gdLst/>
            <a:ahLst/>
            <a:cxnLst>
              <a:cxn ang="0">
                <a:pos x="174" y="148"/>
              </a:cxn>
              <a:cxn ang="0">
                <a:pos x="174" y="144"/>
              </a:cxn>
              <a:cxn ang="0">
                <a:pos x="241" y="72"/>
              </a:cxn>
              <a:cxn ang="0">
                <a:pos x="140" y="0"/>
              </a:cxn>
              <a:cxn ang="0">
                <a:pos x="0" y="0"/>
              </a:cxn>
              <a:cxn ang="0">
                <a:pos x="0" y="17"/>
              </a:cxn>
              <a:cxn ang="0">
                <a:pos x="38" y="26"/>
              </a:cxn>
              <a:cxn ang="0">
                <a:pos x="38" y="283"/>
              </a:cxn>
              <a:cxn ang="0">
                <a:pos x="0" y="292"/>
              </a:cxn>
              <a:cxn ang="0">
                <a:pos x="0" y="309"/>
              </a:cxn>
              <a:cxn ang="0">
                <a:pos x="140" y="309"/>
              </a:cxn>
              <a:cxn ang="0">
                <a:pos x="148" y="309"/>
              </a:cxn>
              <a:cxn ang="0">
                <a:pos x="254" y="228"/>
              </a:cxn>
              <a:cxn ang="0">
                <a:pos x="174" y="148"/>
              </a:cxn>
              <a:cxn ang="0">
                <a:pos x="102" y="21"/>
              </a:cxn>
              <a:cxn ang="0">
                <a:pos x="102" y="21"/>
              </a:cxn>
              <a:cxn ang="0">
                <a:pos x="140" y="26"/>
              </a:cxn>
              <a:cxn ang="0">
                <a:pos x="174" y="81"/>
              </a:cxn>
              <a:cxn ang="0">
                <a:pos x="140" y="136"/>
              </a:cxn>
              <a:cxn ang="0">
                <a:pos x="127" y="140"/>
              </a:cxn>
              <a:cxn ang="0">
                <a:pos x="102" y="140"/>
              </a:cxn>
              <a:cxn ang="0">
                <a:pos x="102" y="21"/>
              </a:cxn>
              <a:cxn ang="0">
                <a:pos x="140" y="288"/>
              </a:cxn>
              <a:cxn ang="0">
                <a:pos x="140" y="288"/>
              </a:cxn>
              <a:cxn ang="0">
                <a:pos x="102" y="271"/>
              </a:cxn>
              <a:cxn ang="0">
                <a:pos x="102" y="157"/>
              </a:cxn>
              <a:cxn ang="0">
                <a:pos x="127" y="157"/>
              </a:cxn>
              <a:cxn ang="0">
                <a:pos x="140" y="157"/>
              </a:cxn>
              <a:cxn ang="0">
                <a:pos x="190" y="228"/>
              </a:cxn>
              <a:cxn ang="0">
                <a:pos x="140" y="288"/>
              </a:cxn>
            </a:cxnLst>
            <a:rect l="0" t="0" r="r" b="b"/>
            <a:pathLst>
              <a:path w="254" h="309">
                <a:moveTo>
                  <a:pt x="174" y="148"/>
                </a:moveTo>
                <a:lnTo>
                  <a:pt x="174" y="144"/>
                </a:lnTo>
                <a:cubicBezTo>
                  <a:pt x="212" y="136"/>
                  <a:pt x="241" y="110"/>
                  <a:pt x="241" y="72"/>
                </a:cubicBezTo>
                <a:cubicBezTo>
                  <a:pt x="241" y="21"/>
                  <a:pt x="199" y="0"/>
                  <a:pt x="140" y="0"/>
                </a:cubicBezTo>
                <a:lnTo>
                  <a:pt x="0" y="0"/>
                </a:lnTo>
                <a:lnTo>
                  <a:pt x="0" y="17"/>
                </a:lnTo>
                <a:lnTo>
                  <a:pt x="38" y="26"/>
                </a:lnTo>
                <a:lnTo>
                  <a:pt x="38" y="283"/>
                </a:lnTo>
                <a:lnTo>
                  <a:pt x="0" y="292"/>
                </a:lnTo>
                <a:lnTo>
                  <a:pt x="0" y="309"/>
                </a:lnTo>
                <a:lnTo>
                  <a:pt x="140" y="309"/>
                </a:lnTo>
                <a:lnTo>
                  <a:pt x="148" y="309"/>
                </a:lnTo>
                <a:cubicBezTo>
                  <a:pt x="207" y="309"/>
                  <a:pt x="254" y="279"/>
                  <a:pt x="254" y="228"/>
                </a:cubicBezTo>
                <a:cubicBezTo>
                  <a:pt x="254" y="174"/>
                  <a:pt x="224" y="152"/>
                  <a:pt x="174" y="148"/>
                </a:cubicBezTo>
                <a:close/>
                <a:moveTo>
                  <a:pt x="102" y="21"/>
                </a:moveTo>
                <a:lnTo>
                  <a:pt x="102" y="21"/>
                </a:lnTo>
                <a:cubicBezTo>
                  <a:pt x="114" y="21"/>
                  <a:pt x="127" y="21"/>
                  <a:pt x="140" y="26"/>
                </a:cubicBezTo>
                <a:cubicBezTo>
                  <a:pt x="161" y="30"/>
                  <a:pt x="174" y="47"/>
                  <a:pt x="174" y="81"/>
                </a:cubicBezTo>
                <a:cubicBezTo>
                  <a:pt x="174" y="106"/>
                  <a:pt x="165" y="131"/>
                  <a:pt x="140" y="136"/>
                </a:cubicBezTo>
                <a:cubicBezTo>
                  <a:pt x="135" y="136"/>
                  <a:pt x="131" y="140"/>
                  <a:pt x="127" y="140"/>
                </a:cubicBezTo>
                <a:lnTo>
                  <a:pt x="102" y="140"/>
                </a:lnTo>
                <a:lnTo>
                  <a:pt x="102" y="21"/>
                </a:lnTo>
                <a:close/>
                <a:moveTo>
                  <a:pt x="140" y="288"/>
                </a:moveTo>
                <a:lnTo>
                  <a:pt x="140" y="288"/>
                </a:lnTo>
                <a:cubicBezTo>
                  <a:pt x="123" y="288"/>
                  <a:pt x="110" y="279"/>
                  <a:pt x="102" y="271"/>
                </a:cubicBezTo>
                <a:lnTo>
                  <a:pt x="102" y="157"/>
                </a:lnTo>
                <a:lnTo>
                  <a:pt x="127" y="157"/>
                </a:lnTo>
                <a:lnTo>
                  <a:pt x="140" y="157"/>
                </a:lnTo>
                <a:cubicBezTo>
                  <a:pt x="174" y="165"/>
                  <a:pt x="190" y="190"/>
                  <a:pt x="190" y="228"/>
                </a:cubicBezTo>
                <a:cubicBezTo>
                  <a:pt x="190" y="262"/>
                  <a:pt x="174" y="288"/>
                  <a:pt x="140" y="288"/>
                </a:cubicBez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3" name="Freeform 13"/>
          <p:cNvSpPr>
            <a:spLocks/>
          </p:cNvSpPr>
          <p:nvPr/>
        </p:nvSpPr>
        <p:spPr bwMode="auto">
          <a:xfrm>
            <a:off x="10778649" y="666268"/>
            <a:ext cx="89658" cy="122864"/>
          </a:xfrm>
          <a:custGeom>
            <a:avLst/>
            <a:gdLst/>
            <a:ahLst/>
            <a:cxnLst>
              <a:cxn ang="0">
                <a:pos x="199" y="279"/>
              </a:cxn>
              <a:cxn ang="0">
                <a:pos x="101" y="279"/>
              </a:cxn>
              <a:cxn ang="0">
                <a:pos x="101" y="157"/>
              </a:cxn>
              <a:cxn ang="0">
                <a:pos x="156" y="157"/>
              </a:cxn>
              <a:cxn ang="0">
                <a:pos x="169" y="199"/>
              </a:cxn>
              <a:cxn ang="0">
                <a:pos x="186" y="199"/>
              </a:cxn>
              <a:cxn ang="0">
                <a:pos x="182" y="144"/>
              </a:cxn>
              <a:cxn ang="0">
                <a:pos x="186" y="93"/>
              </a:cxn>
              <a:cxn ang="0">
                <a:pos x="169" y="93"/>
              </a:cxn>
              <a:cxn ang="0">
                <a:pos x="156" y="136"/>
              </a:cxn>
              <a:cxn ang="0">
                <a:pos x="101" y="136"/>
              </a:cxn>
              <a:cxn ang="0">
                <a:pos x="101" y="30"/>
              </a:cxn>
              <a:cxn ang="0">
                <a:pos x="194" y="30"/>
              </a:cxn>
              <a:cxn ang="0">
                <a:pos x="207" y="81"/>
              </a:cxn>
              <a:cxn ang="0">
                <a:pos x="224" y="81"/>
              </a:cxn>
              <a:cxn ang="0">
                <a:pos x="220" y="0"/>
              </a:cxn>
              <a:cxn ang="0">
                <a:pos x="203" y="0"/>
              </a:cxn>
              <a:cxn ang="0">
                <a:pos x="0" y="0"/>
              </a:cxn>
              <a:cxn ang="0">
                <a:pos x="0" y="17"/>
              </a:cxn>
              <a:cxn ang="0">
                <a:pos x="38" y="26"/>
              </a:cxn>
              <a:cxn ang="0">
                <a:pos x="38" y="283"/>
              </a:cxn>
              <a:cxn ang="0">
                <a:pos x="0" y="292"/>
              </a:cxn>
              <a:cxn ang="0">
                <a:pos x="0" y="309"/>
              </a:cxn>
              <a:cxn ang="0">
                <a:pos x="224" y="309"/>
              </a:cxn>
              <a:cxn ang="0">
                <a:pos x="237" y="220"/>
              </a:cxn>
              <a:cxn ang="0">
                <a:pos x="220" y="220"/>
              </a:cxn>
              <a:cxn ang="0">
                <a:pos x="199" y="279"/>
              </a:cxn>
            </a:cxnLst>
            <a:rect l="0" t="0" r="r" b="b"/>
            <a:pathLst>
              <a:path w="237" h="309">
                <a:moveTo>
                  <a:pt x="199" y="279"/>
                </a:moveTo>
                <a:lnTo>
                  <a:pt x="101" y="279"/>
                </a:lnTo>
                <a:lnTo>
                  <a:pt x="101" y="157"/>
                </a:lnTo>
                <a:lnTo>
                  <a:pt x="156" y="157"/>
                </a:lnTo>
                <a:lnTo>
                  <a:pt x="169" y="199"/>
                </a:lnTo>
                <a:lnTo>
                  <a:pt x="186" y="199"/>
                </a:lnTo>
                <a:cubicBezTo>
                  <a:pt x="182" y="182"/>
                  <a:pt x="182" y="165"/>
                  <a:pt x="182" y="144"/>
                </a:cubicBezTo>
                <a:cubicBezTo>
                  <a:pt x="182" y="127"/>
                  <a:pt x="182" y="110"/>
                  <a:pt x="186" y="93"/>
                </a:cubicBezTo>
                <a:lnTo>
                  <a:pt x="169" y="93"/>
                </a:lnTo>
                <a:lnTo>
                  <a:pt x="156" y="136"/>
                </a:lnTo>
                <a:lnTo>
                  <a:pt x="101" y="136"/>
                </a:lnTo>
                <a:lnTo>
                  <a:pt x="101" y="30"/>
                </a:lnTo>
                <a:lnTo>
                  <a:pt x="194" y="30"/>
                </a:lnTo>
                <a:lnTo>
                  <a:pt x="207" y="81"/>
                </a:lnTo>
                <a:lnTo>
                  <a:pt x="224" y="81"/>
                </a:lnTo>
                <a:lnTo>
                  <a:pt x="220" y="0"/>
                </a:lnTo>
                <a:lnTo>
                  <a:pt x="203" y="0"/>
                </a:lnTo>
                <a:lnTo>
                  <a:pt x="0" y="0"/>
                </a:lnTo>
                <a:lnTo>
                  <a:pt x="0" y="17"/>
                </a:lnTo>
                <a:lnTo>
                  <a:pt x="38" y="26"/>
                </a:lnTo>
                <a:lnTo>
                  <a:pt x="38" y="283"/>
                </a:lnTo>
                <a:lnTo>
                  <a:pt x="0" y="292"/>
                </a:lnTo>
                <a:lnTo>
                  <a:pt x="0" y="309"/>
                </a:lnTo>
                <a:lnTo>
                  <a:pt x="224" y="309"/>
                </a:lnTo>
                <a:lnTo>
                  <a:pt x="237" y="220"/>
                </a:lnTo>
                <a:lnTo>
                  <a:pt x="220" y="220"/>
                </a:lnTo>
                <a:lnTo>
                  <a:pt x="199" y="279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4" name="Freeform 14"/>
          <p:cNvSpPr>
            <a:spLocks/>
          </p:cNvSpPr>
          <p:nvPr/>
        </p:nvSpPr>
        <p:spPr bwMode="auto">
          <a:xfrm>
            <a:off x="10893211" y="666268"/>
            <a:ext cx="189277" cy="157731"/>
          </a:xfrm>
          <a:custGeom>
            <a:avLst/>
            <a:gdLst/>
            <a:ahLst/>
            <a:cxnLst>
              <a:cxn ang="0">
                <a:pos x="444" y="26"/>
              </a:cxn>
              <a:cxn ang="0">
                <a:pos x="490" y="17"/>
              </a:cxn>
              <a:cxn ang="0">
                <a:pos x="490" y="0"/>
              </a:cxn>
              <a:cxn ang="0">
                <a:pos x="338" y="0"/>
              </a:cxn>
              <a:cxn ang="0">
                <a:pos x="338" y="17"/>
              </a:cxn>
              <a:cxn ang="0">
                <a:pos x="380" y="26"/>
              </a:cxn>
              <a:cxn ang="0">
                <a:pos x="380" y="283"/>
              </a:cxn>
              <a:cxn ang="0">
                <a:pos x="275" y="283"/>
              </a:cxn>
              <a:cxn ang="0">
                <a:pos x="275" y="26"/>
              </a:cxn>
              <a:cxn ang="0">
                <a:pos x="317" y="17"/>
              </a:cxn>
              <a:cxn ang="0">
                <a:pos x="317" y="0"/>
              </a:cxn>
              <a:cxn ang="0">
                <a:pos x="169" y="0"/>
              </a:cxn>
              <a:cxn ang="0">
                <a:pos x="169" y="17"/>
              </a:cxn>
              <a:cxn ang="0">
                <a:pos x="211" y="26"/>
              </a:cxn>
              <a:cxn ang="0">
                <a:pos x="211" y="283"/>
              </a:cxn>
              <a:cxn ang="0">
                <a:pos x="106" y="283"/>
              </a:cxn>
              <a:cxn ang="0">
                <a:pos x="106" y="26"/>
              </a:cxn>
              <a:cxn ang="0">
                <a:pos x="148" y="17"/>
              </a:cxn>
              <a:cxn ang="0">
                <a:pos x="148" y="0"/>
              </a:cxn>
              <a:cxn ang="0">
                <a:pos x="0" y="0"/>
              </a:cxn>
              <a:cxn ang="0">
                <a:pos x="0" y="17"/>
              </a:cxn>
              <a:cxn ang="0">
                <a:pos x="42" y="26"/>
              </a:cxn>
              <a:cxn ang="0">
                <a:pos x="42" y="283"/>
              </a:cxn>
              <a:cxn ang="0">
                <a:pos x="0" y="292"/>
              </a:cxn>
              <a:cxn ang="0">
                <a:pos x="0" y="309"/>
              </a:cxn>
              <a:cxn ang="0">
                <a:pos x="457" y="309"/>
              </a:cxn>
              <a:cxn ang="0">
                <a:pos x="457" y="398"/>
              </a:cxn>
              <a:cxn ang="0">
                <a:pos x="474" y="398"/>
              </a:cxn>
              <a:cxn ang="0">
                <a:pos x="495" y="283"/>
              </a:cxn>
              <a:cxn ang="0">
                <a:pos x="444" y="283"/>
              </a:cxn>
              <a:cxn ang="0">
                <a:pos x="444" y="26"/>
              </a:cxn>
            </a:cxnLst>
            <a:rect l="0" t="0" r="r" b="b"/>
            <a:pathLst>
              <a:path w="495" h="398">
                <a:moveTo>
                  <a:pt x="444" y="26"/>
                </a:moveTo>
                <a:lnTo>
                  <a:pt x="490" y="17"/>
                </a:lnTo>
                <a:lnTo>
                  <a:pt x="490" y="0"/>
                </a:lnTo>
                <a:lnTo>
                  <a:pt x="338" y="0"/>
                </a:lnTo>
                <a:lnTo>
                  <a:pt x="338" y="17"/>
                </a:lnTo>
                <a:lnTo>
                  <a:pt x="380" y="26"/>
                </a:lnTo>
                <a:lnTo>
                  <a:pt x="380" y="283"/>
                </a:lnTo>
                <a:lnTo>
                  <a:pt x="275" y="283"/>
                </a:lnTo>
                <a:lnTo>
                  <a:pt x="275" y="26"/>
                </a:lnTo>
                <a:lnTo>
                  <a:pt x="317" y="17"/>
                </a:lnTo>
                <a:lnTo>
                  <a:pt x="317" y="0"/>
                </a:lnTo>
                <a:lnTo>
                  <a:pt x="169" y="0"/>
                </a:lnTo>
                <a:lnTo>
                  <a:pt x="169" y="17"/>
                </a:lnTo>
                <a:lnTo>
                  <a:pt x="211" y="26"/>
                </a:lnTo>
                <a:lnTo>
                  <a:pt x="211" y="283"/>
                </a:lnTo>
                <a:lnTo>
                  <a:pt x="106" y="283"/>
                </a:lnTo>
                <a:lnTo>
                  <a:pt x="106" y="26"/>
                </a:lnTo>
                <a:lnTo>
                  <a:pt x="148" y="17"/>
                </a:lnTo>
                <a:lnTo>
                  <a:pt x="148" y="0"/>
                </a:lnTo>
                <a:lnTo>
                  <a:pt x="0" y="0"/>
                </a:lnTo>
                <a:lnTo>
                  <a:pt x="0" y="17"/>
                </a:lnTo>
                <a:lnTo>
                  <a:pt x="42" y="26"/>
                </a:lnTo>
                <a:lnTo>
                  <a:pt x="42" y="283"/>
                </a:lnTo>
                <a:lnTo>
                  <a:pt x="0" y="292"/>
                </a:lnTo>
                <a:lnTo>
                  <a:pt x="0" y="309"/>
                </a:lnTo>
                <a:lnTo>
                  <a:pt x="457" y="309"/>
                </a:lnTo>
                <a:lnTo>
                  <a:pt x="457" y="398"/>
                </a:lnTo>
                <a:lnTo>
                  <a:pt x="474" y="398"/>
                </a:lnTo>
                <a:lnTo>
                  <a:pt x="495" y="283"/>
                </a:lnTo>
                <a:lnTo>
                  <a:pt x="444" y="283"/>
                </a:lnTo>
                <a:lnTo>
                  <a:pt x="444" y="26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5" name="Freeform 15"/>
          <p:cNvSpPr>
            <a:spLocks/>
          </p:cNvSpPr>
          <p:nvPr/>
        </p:nvSpPr>
        <p:spPr bwMode="auto">
          <a:xfrm>
            <a:off x="11100751" y="666268"/>
            <a:ext cx="91317" cy="122864"/>
          </a:xfrm>
          <a:custGeom>
            <a:avLst/>
            <a:gdLst/>
            <a:ahLst/>
            <a:cxnLst>
              <a:cxn ang="0">
                <a:pos x="237" y="220"/>
              </a:cxn>
              <a:cxn ang="0">
                <a:pos x="224" y="220"/>
              </a:cxn>
              <a:cxn ang="0">
                <a:pos x="199" y="279"/>
              </a:cxn>
              <a:cxn ang="0">
                <a:pos x="102" y="279"/>
              </a:cxn>
              <a:cxn ang="0">
                <a:pos x="102" y="157"/>
              </a:cxn>
              <a:cxn ang="0">
                <a:pos x="157" y="157"/>
              </a:cxn>
              <a:cxn ang="0">
                <a:pos x="170" y="199"/>
              </a:cxn>
              <a:cxn ang="0">
                <a:pos x="186" y="199"/>
              </a:cxn>
              <a:cxn ang="0">
                <a:pos x="182" y="144"/>
              </a:cxn>
              <a:cxn ang="0">
                <a:pos x="186" y="93"/>
              </a:cxn>
              <a:cxn ang="0">
                <a:pos x="174" y="93"/>
              </a:cxn>
              <a:cxn ang="0">
                <a:pos x="157" y="136"/>
              </a:cxn>
              <a:cxn ang="0">
                <a:pos x="102" y="136"/>
              </a:cxn>
              <a:cxn ang="0">
                <a:pos x="102" y="30"/>
              </a:cxn>
              <a:cxn ang="0">
                <a:pos x="195" y="30"/>
              </a:cxn>
              <a:cxn ang="0">
                <a:pos x="208" y="81"/>
              </a:cxn>
              <a:cxn ang="0">
                <a:pos x="224" y="81"/>
              </a:cxn>
              <a:cxn ang="0">
                <a:pos x="220" y="0"/>
              </a:cxn>
              <a:cxn ang="0">
                <a:pos x="0" y="0"/>
              </a:cxn>
              <a:cxn ang="0">
                <a:pos x="0" y="17"/>
              </a:cxn>
              <a:cxn ang="0">
                <a:pos x="38" y="26"/>
              </a:cxn>
              <a:cxn ang="0">
                <a:pos x="38" y="283"/>
              </a:cxn>
              <a:cxn ang="0">
                <a:pos x="0" y="292"/>
              </a:cxn>
              <a:cxn ang="0">
                <a:pos x="0" y="309"/>
              </a:cxn>
              <a:cxn ang="0">
                <a:pos x="229" y="309"/>
              </a:cxn>
              <a:cxn ang="0">
                <a:pos x="237" y="220"/>
              </a:cxn>
            </a:cxnLst>
            <a:rect l="0" t="0" r="r" b="b"/>
            <a:pathLst>
              <a:path w="237" h="309">
                <a:moveTo>
                  <a:pt x="237" y="220"/>
                </a:moveTo>
                <a:lnTo>
                  <a:pt x="224" y="220"/>
                </a:lnTo>
                <a:lnTo>
                  <a:pt x="199" y="279"/>
                </a:lnTo>
                <a:lnTo>
                  <a:pt x="102" y="279"/>
                </a:lnTo>
                <a:lnTo>
                  <a:pt x="102" y="157"/>
                </a:lnTo>
                <a:lnTo>
                  <a:pt x="157" y="157"/>
                </a:lnTo>
                <a:lnTo>
                  <a:pt x="170" y="199"/>
                </a:lnTo>
                <a:lnTo>
                  <a:pt x="186" y="199"/>
                </a:lnTo>
                <a:cubicBezTo>
                  <a:pt x="186" y="182"/>
                  <a:pt x="182" y="165"/>
                  <a:pt x="182" y="144"/>
                </a:cubicBezTo>
                <a:cubicBezTo>
                  <a:pt x="182" y="127"/>
                  <a:pt x="186" y="110"/>
                  <a:pt x="186" y="93"/>
                </a:cubicBezTo>
                <a:lnTo>
                  <a:pt x="174" y="93"/>
                </a:lnTo>
                <a:lnTo>
                  <a:pt x="157" y="136"/>
                </a:lnTo>
                <a:lnTo>
                  <a:pt x="102" y="136"/>
                </a:lnTo>
                <a:lnTo>
                  <a:pt x="102" y="30"/>
                </a:lnTo>
                <a:lnTo>
                  <a:pt x="195" y="30"/>
                </a:lnTo>
                <a:lnTo>
                  <a:pt x="208" y="81"/>
                </a:lnTo>
                <a:lnTo>
                  <a:pt x="224" y="81"/>
                </a:lnTo>
                <a:lnTo>
                  <a:pt x="220" y="0"/>
                </a:lnTo>
                <a:lnTo>
                  <a:pt x="0" y="0"/>
                </a:lnTo>
                <a:lnTo>
                  <a:pt x="0" y="17"/>
                </a:lnTo>
                <a:lnTo>
                  <a:pt x="38" y="26"/>
                </a:lnTo>
                <a:lnTo>
                  <a:pt x="38" y="283"/>
                </a:lnTo>
                <a:lnTo>
                  <a:pt x="0" y="292"/>
                </a:lnTo>
                <a:lnTo>
                  <a:pt x="0" y="309"/>
                </a:lnTo>
                <a:lnTo>
                  <a:pt x="229" y="309"/>
                </a:lnTo>
                <a:lnTo>
                  <a:pt x="237" y="220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Freeform 16"/>
          <p:cNvSpPr>
            <a:spLocks/>
          </p:cNvSpPr>
          <p:nvPr/>
        </p:nvSpPr>
        <p:spPr bwMode="auto">
          <a:xfrm>
            <a:off x="11216974" y="666268"/>
            <a:ext cx="129505" cy="122864"/>
          </a:xfrm>
          <a:custGeom>
            <a:avLst/>
            <a:gdLst/>
            <a:ahLst/>
            <a:cxnLst>
              <a:cxn ang="0">
                <a:pos x="190" y="17"/>
              </a:cxn>
              <a:cxn ang="0">
                <a:pos x="236" y="26"/>
              </a:cxn>
              <a:cxn ang="0">
                <a:pos x="236" y="136"/>
              </a:cxn>
              <a:cxn ang="0">
                <a:pos x="105" y="136"/>
              </a:cxn>
              <a:cxn ang="0">
                <a:pos x="105" y="26"/>
              </a:cxn>
              <a:cxn ang="0">
                <a:pos x="152" y="17"/>
              </a:cxn>
              <a:cxn ang="0">
                <a:pos x="152" y="0"/>
              </a:cxn>
              <a:cxn ang="0">
                <a:pos x="0" y="0"/>
              </a:cxn>
              <a:cxn ang="0">
                <a:pos x="0" y="17"/>
              </a:cxn>
              <a:cxn ang="0">
                <a:pos x="42" y="26"/>
              </a:cxn>
              <a:cxn ang="0">
                <a:pos x="42" y="283"/>
              </a:cxn>
              <a:cxn ang="0">
                <a:pos x="0" y="292"/>
              </a:cxn>
              <a:cxn ang="0">
                <a:pos x="0" y="309"/>
              </a:cxn>
              <a:cxn ang="0">
                <a:pos x="152" y="309"/>
              </a:cxn>
              <a:cxn ang="0">
                <a:pos x="152" y="292"/>
              </a:cxn>
              <a:cxn ang="0">
                <a:pos x="105" y="283"/>
              </a:cxn>
              <a:cxn ang="0">
                <a:pos x="105" y="161"/>
              </a:cxn>
              <a:cxn ang="0">
                <a:pos x="236" y="161"/>
              </a:cxn>
              <a:cxn ang="0">
                <a:pos x="236" y="283"/>
              </a:cxn>
              <a:cxn ang="0">
                <a:pos x="190" y="292"/>
              </a:cxn>
              <a:cxn ang="0">
                <a:pos x="190" y="309"/>
              </a:cxn>
              <a:cxn ang="0">
                <a:pos x="342" y="309"/>
              </a:cxn>
              <a:cxn ang="0">
                <a:pos x="342" y="292"/>
              </a:cxn>
              <a:cxn ang="0">
                <a:pos x="300" y="283"/>
              </a:cxn>
              <a:cxn ang="0">
                <a:pos x="300" y="26"/>
              </a:cxn>
              <a:cxn ang="0">
                <a:pos x="342" y="17"/>
              </a:cxn>
              <a:cxn ang="0">
                <a:pos x="342" y="0"/>
              </a:cxn>
              <a:cxn ang="0">
                <a:pos x="190" y="0"/>
              </a:cxn>
              <a:cxn ang="0">
                <a:pos x="190" y="17"/>
              </a:cxn>
            </a:cxnLst>
            <a:rect l="0" t="0" r="r" b="b"/>
            <a:pathLst>
              <a:path w="342" h="309">
                <a:moveTo>
                  <a:pt x="190" y="17"/>
                </a:moveTo>
                <a:lnTo>
                  <a:pt x="236" y="26"/>
                </a:lnTo>
                <a:lnTo>
                  <a:pt x="236" y="136"/>
                </a:lnTo>
                <a:lnTo>
                  <a:pt x="105" y="136"/>
                </a:lnTo>
                <a:lnTo>
                  <a:pt x="105" y="26"/>
                </a:lnTo>
                <a:lnTo>
                  <a:pt x="152" y="17"/>
                </a:lnTo>
                <a:lnTo>
                  <a:pt x="152" y="0"/>
                </a:lnTo>
                <a:lnTo>
                  <a:pt x="0" y="0"/>
                </a:lnTo>
                <a:lnTo>
                  <a:pt x="0" y="17"/>
                </a:lnTo>
                <a:lnTo>
                  <a:pt x="42" y="26"/>
                </a:lnTo>
                <a:lnTo>
                  <a:pt x="42" y="283"/>
                </a:lnTo>
                <a:lnTo>
                  <a:pt x="0" y="292"/>
                </a:lnTo>
                <a:lnTo>
                  <a:pt x="0" y="309"/>
                </a:lnTo>
                <a:lnTo>
                  <a:pt x="152" y="309"/>
                </a:lnTo>
                <a:lnTo>
                  <a:pt x="152" y="292"/>
                </a:lnTo>
                <a:lnTo>
                  <a:pt x="105" y="283"/>
                </a:lnTo>
                <a:lnTo>
                  <a:pt x="105" y="161"/>
                </a:lnTo>
                <a:lnTo>
                  <a:pt x="236" y="161"/>
                </a:lnTo>
                <a:lnTo>
                  <a:pt x="236" y="283"/>
                </a:lnTo>
                <a:lnTo>
                  <a:pt x="190" y="292"/>
                </a:lnTo>
                <a:lnTo>
                  <a:pt x="190" y="309"/>
                </a:lnTo>
                <a:lnTo>
                  <a:pt x="342" y="309"/>
                </a:lnTo>
                <a:lnTo>
                  <a:pt x="342" y="292"/>
                </a:lnTo>
                <a:lnTo>
                  <a:pt x="300" y="283"/>
                </a:lnTo>
                <a:lnTo>
                  <a:pt x="300" y="26"/>
                </a:lnTo>
                <a:lnTo>
                  <a:pt x="342" y="17"/>
                </a:lnTo>
                <a:lnTo>
                  <a:pt x="342" y="0"/>
                </a:lnTo>
                <a:lnTo>
                  <a:pt x="190" y="0"/>
                </a:lnTo>
                <a:lnTo>
                  <a:pt x="190" y="17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7" name="Freeform 17"/>
          <p:cNvSpPr>
            <a:spLocks/>
          </p:cNvSpPr>
          <p:nvPr/>
        </p:nvSpPr>
        <p:spPr bwMode="auto">
          <a:xfrm>
            <a:off x="11368063" y="666268"/>
            <a:ext cx="131166" cy="122864"/>
          </a:xfrm>
          <a:custGeom>
            <a:avLst/>
            <a:gdLst/>
            <a:ahLst/>
            <a:cxnLst>
              <a:cxn ang="0">
                <a:pos x="190" y="17"/>
              </a:cxn>
              <a:cxn ang="0">
                <a:pos x="237" y="26"/>
              </a:cxn>
              <a:cxn ang="0">
                <a:pos x="237" y="30"/>
              </a:cxn>
              <a:cxn ang="0">
                <a:pos x="106" y="237"/>
              </a:cxn>
              <a:cxn ang="0">
                <a:pos x="106" y="26"/>
              </a:cxn>
              <a:cxn ang="0">
                <a:pos x="152" y="17"/>
              </a:cxn>
              <a:cxn ang="0">
                <a:pos x="152" y="0"/>
              </a:cxn>
              <a:cxn ang="0">
                <a:pos x="0" y="0"/>
              </a:cxn>
              <a:cxn ang="0">
                <a:pos x="0" y="17"/>
              </a:cxn>
              <a:cxn ang="0">
                <a:pos x="42" y="26"/>
              </a:cxn>
              <a:cxn ang="0">
                <a:pos x="42" y="283"/>
              </a:cxn>
              <a:cxn ang="0">
                <a:pos x="0" y="292"/>
              </a:cxn>
              <a:cxn ang="0">
                <a:pos x="0" y="309"/>
              </a:cxn>
              <a:cxn ang="0">
                <a:pos x="152" y="309"/>
              </a:cxn>
              <a:cxn ang="0">
                <a:pos x="152" y="292"/>
              </a:cxn>
              <a:cxn ang="0">
                <a:pos x="106" y="283"/>
              </a:cxn>
              <a:cxn ang="0">
                <a:pos x="106" y="279"/>
              </a:cxn>
              <a:cxn ang="0">
                <a:pos x="237" y="72"/>
              </a:cxn>
              <a:cxn ang="0">
                <a:pos x="237" y="283"/>
              </a:cxn>
              <a:cxn ang="0">
                <a:pos x="190" y="292"/>
              </a:cxn>
              <a:cxn ang="0">
                <a:pos x="190" y="309"/>
              </a:cxn>
              <a:cxn ang="0">
                <a:pos x="342" y="309"/>
              </a:cxn>
              <a:cxn ang="0">
                <a:pos x="342" y="292"/>
              </a:cxn>
              <a:cxn ang="0">
                <a:pos x="300" y="283"/>
              </a:cxn>
              <a:cxn ang="0">
                <a:pos x="300" y="26"/>
              </a:cxn>
              <a:cxn ang="0">
                <a:pos x="342" y="17"/>
              </a:cxn>
              <a:cxn ang="0">
                <a:pos x="342" y="0"/>
              </a:cxn>
              <a:cxn ang="0">
                <a:pos x="190" y="0"/>
              </a:cxn>
              <a:cxn ang="0">
                <a:pos x="190" y="17"/>
              </a:cxn>
            </a:cxnLst>
            <a:rect l="0" t="0" r="r" b="b"/>
            <a:pathLst>
              <a:path w="342" h="309">
                <a:moveTo>
                  <a:pt x="190" y="17"/>
                </a:moveTo>
                <a:lnTo>
                  <a:pt x="237" y="26"/>
                </a:lnTo>
                <a:lnTo>
                  <a:pt x="237" y="30"/>
                </a:lnTo>
                <a:lnTo>
                  <a:pt x="106" y="237"/>
                </a:lnTo>
                <a:lnTo>
                  <a:pt x="106" y="26"/>
                </a:lnTo>
                <a:lnTo>
                  <a:pt x="152" y="17"/>
                </a:lnTo>
                <a:lnTo>
                  <a:pt x="152" y="0"/>
                </a:lnTo>
                <a:lnTo>
                  <a:pt x="0" y="0"/>
                </a:lnTo>
                <a:lnTo>
                  <a:pt x="0" y="17"/>
                </a:lnTo>
                <a:lnTo>
                  <a:pt x="42" y="26"/>
                </a:lnTo>
                <a:lnTo>
                  <a:pt x="42" y="283"/>
                </a:lnTo>
                <a:lnTo>
                  <a:pt x="0" y="292"/>
                </a:lnTo>
                <a:lnTo>
                  <a:pt x="0" y="309"/>
                </a:lnTo>
                <a:lnTo>
                  <a:pt x="152" y="309"/>
                </a:lnTo>
                <a:lnTo>
                  <a:pt x="152" y="292"/>
                </a:lnTo>
                <a:lnTo>
                  <a:pt x="106" y="283"/>
                </a:lnTo>
                <a:lnTo>
                  <a:pt x="106" y="279"/>
                </a:lnTo>
                <a:lnTo>
                  <a:pt x="237" y="72"/>
                </a:lnTo>
                <a:lnTo>
                  <a:pt x="237" y="283"/>
                </a:lnTo>
                <a:lnTo>
                  <a:pt x="190" y="292"/>
                </a:lnTo>
                <a:lnTo>
                  <a:pt x="190" y="309"/>
                </a:lnTo>
                <a:lnTo>
                  <a:pt x="342" y="309"/>
                </a:lnTo>
                <a:lnTo>
                  <a:pt x="342" y="292"/>
                </a:lnTo>
                <a:lnTo>
                  <a:pt x="300" y="283"/>
                </a:lnTo>
                <a:lnTo>
                  <a:pt x="300" y="26"/>
                </a:lnTo>
                <a:lnTo>
                  <a:pt x="342" y="17"/>
                </a:lnTo>
                <a:lnTo>
                  <a:pt x="342" y="0"/>
                </a:lnTo>
                <a:lnTo>
                  <a:pt x="190" y="0"/>
                </a:lnTo>
                <a:lnTo>
                  <a:pt x="190" y="17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8" name="Freeform 18"/>
          <p:cNvSpPr>
            <a:spLocks/>
          </p:cNvSpPr>
          <p:nvPr/>
        </p:nvSpPr>
        <p:spPr bwMode="auto">
          <a:xfrm>
            <a:off x="11519152" y="666268"/>
            <a:ext cx="92978" cy="122864"/>
          </a:xfrm>
          <a:custGeom>
            <a:avLst/>
            <a:gdLst/>
            <a:ahLst/>
            <a:cxnLst>
              <a:cxn ang="0">
                <a:pos x="225" y="220"/>
              </a:cxn>
              <a:cxn ang="0">
                <a:pos x="199" y="279"/>
              </a:cxn>
              <a:cxn ang="0">
                <a:pos x="106" y="279"/>
              </a:cxn>
              <a:cxn ang="0">
                <a:pos x="106" y="157"/>
              </a:cxn>
              <a:cxn ang="0">
                <a:pos x="161" y="157"/>
              </a:cxn>
              <a:cxn ang="0">
                <a:pos x="174" y="199"/>
              </a:cxn>
              <a:cxn ang="0">
                <a:pos x="187" y="199"/>
              </a:cxn>
              <a:cxn ang="0">
                <a:pos x="187" y="144"/>
              </a:cxn>
              <a:cxn ang="0">
                <a:pos x="187" y="93"/>
              </a:cxn>
              <a:cxn ang="0">
                <a:pos x="174" y="93"/>
              </a:cxn>
              <a:cxn ang="0">
                <a:pos x="161" y="136"/>
              </a:cxn>
              <a:cxn ang="0">
                <a:pos x="106" y="136"/>
              </a:cxn>
              <a:cxn ang="0">
                <a:pos x="106" y="30"/>
              </a:cxn>
              <a:cxn ang="0">
                <a:pos x="195" y="30"/>
              </a:cxn>
              <a:cxn ang="0">
                <a:pos x="212" y="81"/>
              </a:cxn>
              <a:cxn ang="0">
                <a:pos x="225" y="81"/>
              </a:cxn>
              <a:cxn ang="0">
                <a:pos x="225" y="0"/>
              </a:cxn>
              <a:cxn ang="0">
                <a:pos x="0" y="0"/>
              </a:cxn>
              <a:cxn ang="0">
                <a:pos x="0" y="17"/>
              </a:cxn>
              <a:cxn ang="0">
                <a:pos x="43" y="26"/>
              </a:cxn>
              <a:cxn ang="0">
                <a:pos x="43" y="283"/>
              </a:cxn>
              <a:cxn ang="0">
                <a:pos x="0" y="292"/>
              </a:cxn>
              <a:cxn ang="0">
                <a:pos x="0" y="309"/>
              </a:cxn>
              <a:cxn ang="0">
                <a:pos x="229" y="309"/>
              </a:cxn>
              <a:cxn ang="0">
                <a:pos x="241" y="220"/>
              </a:cxn>
              <a:cxn ang="0">
                <a:pos x="225" y="220"/>
              </a:cxn>
            </a:cxnLst>
            <a:rect l="0" t="0" r="r" b="b"/>
            <a:pathLst>
              <a:path w="241" h="309">
                <a:moveTo>
                  <a:pt x="225" y="220"/>
                </a:moveTo>
                <a:lnTo>
                  <a:pt x="199" y="279"/>
                </a:lnTo>
                <a:lnTo>
                  <a:pt x="106" y="279"/>
                </a:lnTo>
                <a:lnTo>
                  <a:pt x="106" y="157"/>
                </a:lnTo>
                <a:lnTo>
                  <a:pt x="161" y="157"/>
                </a:lnTo>
                <a:lnTo>
                  <a:pt x="174" y="199"/>
                </a:lnTo>
                <a:lnTo>
                  <a:pt x="187" y="199"/>
                </a:lnTo>
                <a:lnTo>
                  <a:pt x="187" y="144"/>
                </a:lnTo>
                <a:lnTo>
                  <a:pt x="187" y="93"/>
                </a:lnTo>
                <a:lnTo>
                  <a:pt x="174" y="93"/>
                </a:lnTo>
                <a:lnTo>
                  <a:pt x="161" y="136"/>
                </a:lnTo>
                <a:lnTo>
                  <a:pt x="106" y="136"/>
                </a:lnTo>
                <a:lnTo>
                  <a:pt x="106" y="30"/>
                </a:lnTo>
                <a:lnTo>
                  <a:pt x="195" y="30"/>
                </a:lnTo>
                <a:lnTo>
                  <a:pt x="212" y="81"/>
                </a:lnTo>
                <a:lnTo>
                  <a:pt x="225" y="81"/>
                </a:lnTo>
                <a:lnTo>
                  <a:pt x="225" y="0"/>
                </a:lnTo>
                <a:lnTo>
                  <a:pt x="0" y="0"/>
                </a:lnTo>
                <a:lnTo>
                  <a:pt x="0" y="17"/>
                </a:lnTo>
                <a:lnTo>
                  <a:pt x="43" y="26"/>
                </a:lnTo>
                <a:lnTo>
                  <a:pt x="43" y="283"/>
                </a:lnTo>
                <a:lnTo>
                  <a:pt x="0" y="292"/>
                </a:lnTo>
                <a:lnTo>
                  <a:pt x="0" y="309"/>
                </a:lnTo>
                <a:lnTo>
                  <a:pt x="229" y="309"/>
                </a:lnTo>
                <a:lnTo>
                  <a:pt x="241" y="220"/>
                </a:lnTo>
                <a:lnTo>
                  <a:pt x="225" y="220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9" name="Freeform 19"/>
          <p:cNvSpPr>
            <a:spLocks noEditPoints="1"/>
          </p:cNvSpPr>
          <p:nvPr/>
        </p:nvSpPr>
        <p:spPr bwMode="auto">
          <a:xfrm>
            <a:off x="10735481" y="300997"/>
            <a:ext cx="240746" cy="303839"/>
          </a:xfrm>
          <a:custGeom>
            <a:avLst/>
            <a:gdLst/>
            <a:ahLst/>
            <a:cxnLst>
              <a:cxn ang="0">
                <a:pos x="317" y="774"/>
              </a:cxn>
              <a:cxn ang="0">
                <a:pos x="587" y="668"/>
              </a:cxn>
              <a:cxn ang="0">
                <a:pos x="630" y="85"/>
              </a:cxn>
              <a:cxn ang="0">
                <a:pos x="317" y="0"/>
              </a:cxn>
              <a:cxn ang="0">
                <a:pos x="160" y="42"/>
              </a:cxn>
              <a:cxn ang="0">
                <a:pos x="0" y="85"/>
              </a:cxn>
              <a:cxn ang="0">
                <a:pos x="42" y="668"/>
              </a:cxn>
              <a:cxn ang="0">
                <a:pos x="160" y="715"/>
              </a:cxn>
              <a:cxn ang="0">
                <a:pos x="317" y="774"/>
              </a:cxn>
              <a:cxn ang="0">
                <a:pos x="160" y="76"/>
              </a:cxn>
              <a:cxn ang="0">
                <a:pos x="160" y="76"/>
              </a:cxn>
              <a:cxn ang="0">
                <a:pos x="224" y="59"/>
              </a:cxn>
              <a:cxn ang="0">
                <a:pos x="160" y="161"/>
              </a:cxn>
              <a:cxn ang="0">
                <a:pos x="105" y="258"/>
              </a:cxn>
              <a:cxn ang="0">
                <a:pos x="105" y="186"/>
              </a:cxn>
              <a:cxn ang="0">
                <a:pos x="101" y="93"/>
              </a:cxn>
              <a:cxn ang="0">
                <a:pos x="160" y="76"/>
              </a:cxn>
              <a:cxn ang="0">
                <a:pos x="76" y="643"/>
              </a:cxn>
              <a:cxn ang="0">
                <a:pos x="76" y="643"/>
              </a:cxn>
              <a:cxn ang="0">
                <a:pos x="55" y="385"/>
              </a:cxn>
              <a:cxn ang="0">
                <a:pos x="114" y="389"/>
              </a:cxn>
              <a:cxn ang="0">
                <a:pos x="160" y="313"/>
              </a:cxn>
              <a:cxn ang="0">
                <a:pos x="228" y="203"/>
              </a:cxn>
              <a:cxn ang="0">
                <a:pos x="224" y="275"/>
              </a:cxn>
              <a:cxn ang="0">
                <a:pos x="228" y="397"/>
              </a:cxn>
              <a:cxn ang="0">
                <a:pos x="317" y="402"/>
              </a:cxn>
              <a:cxn ang="0">
                <a:pos x="317" y="34"/>
              </a:cxn>
              <a:cxn ang="0">
                <a:pos x="596" y="110"/>
              </a:cxn>
              <a:cxn ang="0">
                <a:pos x="575" y="385"/>
              </a:cxn>
              <a:cxn ang="0">
                <a:pos x="494" y="389"/>
              </a:cxn>
              <a:cxn ang="0">
                <a:pos x="507" y="156"/>
              </a:cxn>
              <a:cxn ang="0">
                <a:pos x="410" y="140"/>
              </a:cxn>
              <a:cxn ang="0">
                <a:pos x="406" y="397"/>
              </a:cxn>
              <a:cxn ang="0">
                <a:pos x="317" y="402"/>
              </a:cxn>
              <a:cxn ang="0">
                <a:pos x="317" y="736"/>
              </a:cxn>
              <a:cxn ang="0">
                <a:pos x="160" y="676"/>
              </a:cxn>
              <a:cxn ang="0">
                <a:pos x="76" y="643"/>
              </a:cxn>
            </a:cxnLst>
            <a:rect l="0" t="0" r="r" b="b"/>
            <a:pathLst>
              <a:path w="630" h="774">
                <a:moveTo>
                  <a:pt x="317" y="774"/>
                </a:moveTo>
                <a:lnTo>
                  <a:pt x="587" y="668"/>
                </a:lnTo>
                <a:lnTo>
                  <a:pt x="630" y="85"/>
                </a:lnTo>
                <a:lnTo>
                  <a:pt x="317" y="0"/>
                </a:lnTo>
                <a:lnTo>
                  <a:pt x="160" y="42"/>
                </a:lnTo>
                <a:lnTo>
                  <a:pt x="0" y="85"/>
                </a:lnTo>
                <a:lnTo>
                  <a:pt x="42" y="668"/>
                </a:lnTo>
                <a:lnTo>
                  <a:pt x="160" y="715"/>
                </a:lnTo>
                <a:lnTo>
                  <a:pt x="317" y="774"/>
                </a:lnTo>
                <a:close/>
                <a:moveTo>
                  <a:pt x="160" y="76"/>
                </a:moveTo>
                <a:lnTo>
                  <a:pt x="160" y="76"/>
                </a:lnTo>
                <a:lnTo>
                  <a:pt x="224" y="59"/>
                </a:lnTo>
                <a:lnTo>
                  <a:pt x="160" y="161"/>
                </a:lnTo>
                <a:lnTo>
                  <a:pt x="105" y="258"/>
                </a:lnTo>
                <a:lnTo>
                  <a:pt x="105" y="186"/>
                </a:lnTo>
                <a:lnTo>
                  <a:pt x="101" y="93"/>
                </a:lnTo>
                <a:lnTo>
                  <a:pt x="160" y="76"/>
                </a:lnTo>
                <a:close/>
                <a:moveTo>
                  <a:pt x="76" y="643"/>
                </a:moveTo>
                <a:lnTo>
                  <a:pt x="76" y="643"/>
                </a:lnTo>
                <a:lnTo>
                  <a:pt x="55" y="385"/>
                </a:lnTo>
                <a:lnTo>
                  <a:pt x="114" y="389"/>
                </a:lnTo>
                <a:lnTo>
                  <a:pt x="160" y="313"/>
                </a:lnTo>
                <a:lnTo>
                  <a:pt x="228" y="203"/>
                </a:lnTo>
                <a:lnTo>
                  <a:pt x="224" y="275"/>
                </a:lnTo>
                <a:lnTo>
                  <a:pt x="228" y="397"/>
                </a:lnTo>
                <a:lnTo>
                  <a:pt x="317" y="402"/>
                </a:lnTo>
                <a:lnTo>
                  <a:pt x="317" y="34"/>
                </a:lnTo>
                <a:lnTo>
                  <a:pt x="596" y="110"/>
                </a:lnTo>
                <a:lnTo>
                  <a:pt x="575" y="385"/>
                </a:lnTo>
                <a:lnTo>
                  <a:pt x="494" y="389"/>
                </a:lnTo>
                <a:lnTo>
                  <a:pt x="507" y="156"/>
                </a:lnTo>
                <a:lnTo>
                  <a:pt x="410" y="140"/>
                </a:lnTo>
                <a:lnTo>
                  <a:pt x="406" y="397"/>
                </a:lnTo>
                <a:lnTo>
                  <a:pt x="317" y="402"/>
                </a:lnTo>
                <a:lnTo>
                  <a:pt x="317" y="736"/>
                </a:lnTo>
                <a:lnTo>
                  <a:pt x="160" y="676"/>
                </a:lnTo>
                <a:lnTo>
                  <a:pt x="76" y="643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pSp>
        <p:nvGrpSpPr>
          <p:cNvPr id="20" name="Группа 19"/>
          <p:cNvGrpSpPr/>
          <p:nvPr/>
        </p:nvGrpSpPr>
        <p:grpSpPr>
          <a:xfrm>
            <a:off x="0" y="548203"/>
            <a:ext cx="9888209" cy="33206"/>
            <a:chOff x="0" y="548203"/>
            <a:chExt cx="9888209" cy="33206"/>
          </a:xfrm>
        </p:grpSpPr>
        <p:grpSp>
          <p:nvGrpSpPr>
            <p:cNvPr id="21" name="Группа 55"/>
            <p:cNvGrpSpPr/>
            <p:nvPr/>
          </p:nvGrpSpPr>
          <p:grpSpPr>
            <a:xfrm>
              <a:off x="5361108" y="548203"/>
              <a:ext cx="4527101" cy="33206"/>
              <a:chOff x="5361108" y="546724"/>
              <a:chExt cx="4527101" cy="33206"/>
            </a:xfrm>
          </p:grpSpPr>
          <p:grpSp>
            <p:nvGrpSpPr>
              <p:cNvPr id="52" name="Группа 47"/>
              <p:cNvGrpSpPr/>
              <p:nvPr/>
            </p:nvGrpSpPr>
            <p:grpSpPr>
              <a:xfrm rot="10800000">
                <a:off x="7610913" y="546724"/>
                <a:ext cx="2277296" cy="33206"/>
                <a:chOff x="7610913" y="546724"/>
                <a:chExt cx="2277296" cy="33206"/>
              </a:xfrm>
            </p:grpSpPr>
            <p:grpSp>
              <p:nvGrpSpPr>
                <p:cNvPr id="60" name="Группа 43"/>
                <p:cNvGrpSpPr/>
                <p:nvPr/>
              </p:nvGrpSpPr>
              <p:grpSpPr>
                <a:xfrm>
                  <a:off x="8744388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64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65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61" name="Группа 44"/>
                <p:cNvGrpSpPr/>
                <p:nvPr/>
              </p:nvGrpSpPr>
              <p:grpSpPr>
                <a:xfrm>
                  <a:off x="7610913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62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63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</p:grpSp>
          <p:grpSp>
            <p:nvGrpSpPr>
              <p:cNvPr id="53" name="Группа 48"/>
              <p:cNvGrpSpPr/>
              <p:nvPr/>
            </p:nvGrpSpPr>
            <p:grpSpPr>
              <a:xfrm>
                <a:off x="5361108" y="546724"/>
                <a:ext cx="2277296" cy="33206"/>
                <a:chOff x="7610913" y="546724"/>
                <a:chExt cx="2277296" cy="33206"/>
              </a:xfrm>
            </p:grpSpPr>
            <p:grpSp>
              <p:nvGrpSpPr>
                <p:cNvPr id="54" name="Группа 43"/>
                <p:cNvGrpSpPr/>
                <p:nvPr/>
              </p:nvGrpSpPr>
              <p:grpSpPr>
                <a:xfrm>
                  <a:off x="8744388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58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59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55" name="Группа 44"/>
                <p:cNvGrpSpPr/>
                <p:nvPr/>
              </p:nvGrpSpPr>
              <p:grpSpPr>
                <a:xfrm>
                  <a:off x="7610913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56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57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</p:grpSp>
        </p:grpSp>
        <p:grpSp>
          <p:nvGrpSpPr>
            <p:cNvPr id="22" name="Группа 56"/>
            <p:cNvGrpSpPr/>
            <p:nvPr/>
          </p:nvGrpSpPr>
          <p:grpSpPr>
            <a:xfrm>
              <a:off x="1048040" y="548203"/>
              <a:ext cx="4527101" cy="33206"/>
              <a:chOff x="5361108" y="546724"/>
              <a:chExt cx="4527101" cy="33206"/>
            </a:xfrm>
          </p:grpSpPr>
          <p:grpSp>
            <p:nvGrpSpPr>
              <p:cNvPr id="38" name="Группа 47"/>
              <p:cNvGrpSpPr/>
              <p:nvPr/>
            </p:nvGrpSpPr>
            <p:grpSpPr>
              <a:xfrm rot="10800000">
                <a:off x="7610913" y="546724"/>
                <a:ext cx="2277296" cy="33206"/>
                <a:chOff x="7610913" y="546724"/>
                <a:chExt cx="2277296" cy="33206"/>
              </a:xfrm>
            </p:grpSpPr>
            <p:grpSp>
              <p:nvGrpSpPr>
                <p:cNvPr id="46" name="Группа 45"/>
                <p:cNvGrpSpPr/>
                <p:nvPr/>
              </p:nvGrpSpPr>
              <p:grpSpPr>
                <a:xfrm>
                  <a:off x="8744388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50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51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47" name="Группа 46"/>
                <p:cNvGrpSpPr/>
                <p:nvPr/>
              </p:nvGrpSpPr>
              <p:grpSpPr>
                <a:xfrm>
                  <a:off x="7610913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48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49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</p:grpSp>
          <p:grpSp>
            <p:nvGrpSpPr>
              <p:cNvPr id="39" name="Группа 48"/>
              <p:cNvGrpSpPr/>
              <p:nvPr/>
            </p:nvGrpSpPr>
            <p:grpSpPr>
              <a:xfrm>
                <a:off x="5361108" y="546724"/>
                <a:ext cx="2277296" cy="33206"/>
                <a:chOff x="7610913" y="546724"/>
                <a:chExt cx="2277296" cy="33206"/>
              </a:xfrm>
            </p:grpSpPr>
            <p:grpSp>
              <p:nvGrpSpPr>
                <p:cNvPr id="40" name="Группа 43"/>
                <p:cNvGrpSpPr/>
                <p:nvPr/>
              </p:nvGrpSpPr>
              <p:grpSpPr>
                <a:xfrm>
                  <a:off x="8744388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44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45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41" name="Группа 44"/>
                <p:cNvGrpSpPr/>
                <p:nvPr/>
              </p:nvGrpSpPr>
              <p:grpSpPr>
                <a:xfrm>
                  <a:off x="7610913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42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43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</p:grpSp>
        </p:grpSp>
        <p:grpSp>
          <p:nvGrpSpPr>
            <p:cNvPr id="23" name="Группа 71"/>
            <p:cNvGrpSpPr/>
            <p:nvPr/>
          </p:nvGrpSpPr>
          <p:grpSpPr>
            <a:xfrm>
              <a:off x="0" y="548203"/>
              <a:ext cx="4527101" cy="33206"/>
              <a:chOff x="5361108" y="546724"/>
              <a:chExt cx="4527101" cy="33206"/>
            </a:xfrm>
          </p:grpSpPr>
          <p:grpSp>
            <p:nvGrpSpPr>
              <p:cNvPr id="24" name="Группа 47"/>
              <p:cNvGrpSpPr/>
              <p:nvPr/>
            </p:nvGrpSpPr>
            <p:grpSpPr>
              <a:xfrm rot="10800000">
                <a:off x="7610913" y="546724"/>
                <a:ext cx="2277296" cy="33206"/>
                <a:chOff x="7610913" y="546724"/>
                <a:chExt cx="2277296" cy="33206"/>
              </a:xfrm>
            </p:grpSpPr>
            <p:grpSp>
              <p:nvGrpSpPr>
                <p:cNvPr id="32" name="Группа 43"/>
                <p:cNvGrpSpPr/>
                <p:nvPr/>
              </p:nvGrpSpPr>
              <p:grpSpPr>
                <a:xfrm>
                  <a:off x="8744388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36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37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33" name="Группа 44"/>
                <p:cNvGrpSpPr/>
                <p:nvPr/>
              </p:nvGrpSpPr>
              <p:grpSpPr>
                <a:xfrm>
                  <a:off x="7610913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34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35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</p:grpSp>
          <p:grpSp>
            <p:nvGrpSpPr>
              <p:cNvPr id="25" name="Группа 48"/>
              <p:cNvGrpSpPr/>
              <p:nvPr/>
            </p:nvGrpSpPr>
            <p:grpSpPr>
              <a:xfrm>
                <a:off x="5361108" y="546724"/>
                <a:ext cx="2277296" cy="33206"/>
                <a:chOff x="7610913" y="546724"/>
                <a:chExt cx="2277296" cy="33206"/>
              </a:xfrm>
            </p:grpSpPr>
            <p:grpSp>
              <p:nvGrpSpPr>
                <p:cNvPr id="26" name="Группа 43"/>
                <p:cNvGrpSpPr/>
                <p:nvPr/>
              </p:nvGrpSpPr>
              <p:grpSpPr>
                <a:xfrm>
                  <a:off x="8744388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30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31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27" name="Группа 44"/>
                <p:cNvGrpSpPr/>
                <p:nvPr/>
              </p:nvGrpSpPr>
              <p:grpSpPr>
                <a:xfrm>
                  <a:off x="7610913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28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29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</p:grpSp>
        </p:grpSp>
      </p:grpSp>
      <p:sp>
        <p:nvSpPr>
          <p:cNvPr id="66" name="Подзаголовок 2"/>
          <p:cNvSpPr txBox="1">
            <a:spLocks/>
          </p:cNvSpPr>
          <p:nvPr/>
        </p:nvSpPr>
        <p:spPr>
          <a:xfrm>
            <a:off x="2798855" y="2862924"/>
            <a:ext cx="7330667" cy="4462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29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ru-RU" sz="29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AE188DD6-3492-479B-AF66-F48E9A8F543C}"/>
              </a:ext>
            </a:extLst>
          </p:cNvPr>
          <p:cNvSpPr txBox="1"/>
          <p:nvPr/>
        </p:nvSpPr>
        <p:spPr>
          <a:xfrm>
            <a:off x="268415" y="2427885"/>
            <a:ext cx="1347316" cy="68355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>
              <a:defRPr sz="1400" b="1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/>
            <a:r>
              <a:rPr lang="ru-RU" dirty="0" smtClean="0">
                <a:solidFill>
                  <a:schemeClr val="bg1"/>
                </a:solidFill>
              </a:rPr>
              <a:t>Каталог 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E188DD6-3492-479B-AF66-F48E9A8F543C}"/>
              </a:ext>
            </a:extLst>
          </p:cNvPr>
          <p:cNvSpPr txBox="1"/>
          <p:nvPr/>
        </p:nvSpPr>
        <p:spPr>
          <a:xfrm>
            <a:off x="1761080" y="2427764"/>
            <a:ext cx="1632546" cy="68367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>
              <a:defRPr sz="1400" b="1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/>
            <a:r>
              <a:rPr lang="ru-RU" dirty="0" smtClean="0">
                <a:solidFill>
                  <a:schemeClr val="bg1"/>
                </a:solidFill>
              </a:rPr>
              <a:t>Горячая линия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AE188DD6-3492-479B-AF66-F48E9A8F543C}"/>
              </a:ext>
            </a:extLst>
          </p:cNvPr>
          <p:cNvSpPr txBox="1"/>
          <p:nvPr/>
        </p:nvSpPr>
        <p:spPr>
          <a:xfrm>
            <a:off x="8861102" y="2445247"/>
            <a:ext cx="3007387" cy="66484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>
              <a:defRPr sz="1400" b="1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>
              <a:defRPr/>
            </a:pPr>
            <a:r>
              <a:rPr lang="ru-RU" dirty="0" smtClean="0"/>
              <a:t>Материалы </a:t>
            </a:r>
            <a:r>
              <a:rPr lang="ru-RU" dirty="0"/>
              <a:t>для подготовки к участию в международных исследованиях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102390" y="4098119"/>
            <a:ext cx="171944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talog.prosv.ru</a:t>
            </a:r>
            <a:endParaRPr lang="ru-RU" u="sng" dirty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81" name="Рисунок 8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856" y="3343893"/>
            <a:ext cx="473619" cy="56464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1800215" y="4098119"/>
            <a:ext cx="18342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pros</a:t>
            </a:r>
            <a:r>
              <a:rPr lang="ru-RU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@</a:t>
            </a:r>
            <a:r>
              <a:rPr lang="en-US" u="sng" dirty="0" err="1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sv</a:t>
            </a:r>
            <a:r>
              <a:rPr lang="ru-RU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u="sng" dirty="0" err="1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u</a:t>
            </a:r>
            <a:endParaRPr lang="ru-RU" u="sng" dirty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63492" name="Picture 4" descr="ÐÐ°ÑÑÐ¸Ð½ÐºÐ¸ Ð¿Ð¾ Ð·Ð°Ð¿ÑÐ¾ÑÑ Ð³Ð¾ÑÑÑÐ°Ñ Ð»Ð¸Ð½Ð¸Ñ Ð·Ð½Ð°ÑÐ¾Ðº Ð² Ð¿Ð½Ð³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5619" y="3206049"/>
            <a:ext cx="965192" cy="686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297"/>
          <a:stretch/>
        </p:blipFill>
        <p:spPr>
          <a:xfrm>
            <a:off x="4191836" y="3237524"/>
            <a:ext cx="910413" cy="952137"/>
          </a:xfrm>
          <a:prstGeom prst="rect">
            <a:avLst/>
          </a:prstGeom>
        </p:spPr>
      </p:pic>
      <p:sp>
        <p:nvSpPr>
          <p:cNvPr id="78" name="TextBox 77">
            <a:extLst>
              <a:ext uri="{FF2B5EF4-FFF2-40B4-BE49-F238E27FC236}">
                <a16:creationId xmlns:a16="http://schemas.microsoft.com/office/drawing/2014/main" id="{AE188DD6-3492-479B-AF66-F48E9A8F543C}"/>
              </a:ext>
            </a:extLst>
          </p:cNvPr>
          <p:cNvSpPr txBox="1"/>
          <p:nvPr/>
        </p:nvSpPr>
        <p:spPr>
          <a:xfrm>
            <a:off x="3601810" y="2427764"/>
            <a:ext cx="1973331" cy="68367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>
              <a:defRPr sz="1400" b="1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/>
            <a:r>
              <a:rPr lang="ru-RU" dirty="0" smtClean="0">
                <a:solidFill>
                  <a:schemeClr val="bg1"/>
                </a:solidFill>
              </a:rPr>
              <a:t>Рабочие программы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79" name="Прямоугольник 78"/>
          <p:cNvSpPr/>
          <p:nvPr/>
        </p:nvSpPr>
        <p:spPr>
          <a:xfrm>
            <a:off x="4178950" y="4098119"/>
            <a:ext cx="93602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sv.ru</a:t>
            </a:r>
            <a:endParaRPr lang="ru-RU" u="sng" dirty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80" name="Рисунок 24">
            <a:hlinkClick r:id="rId6"/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3993" y="4849533"/>
            <a:ext cx="1158252" cy="1158252"/>
          </a:xfrm>
          <a:prstGeom prst="rect">
            <a:avLst/>
          </a:prstGeom>
        </p:spPr>
      </p:pic>
      <p:sp>
        <p:nvSpPr>
          <p:cNvPr id="83" name="Прямоугольник 82"/>
          <p:cNvSpPr/>
          <p:nvPr/>
        </p:nvSpPr>
        <p:spPr>
          <a:xfrm>
            <a:off x="585119" y="6178941"/>
            <a:ext cx="609600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opros@prosv.ru</a:t>
            </a: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84" name="Рисунок 24">
            <a:hlinkClick r:id="rId6"/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7787" y="4849533"/>
            <a:ext cx="1158252" cy="1158252"/>
          </a:xfrm>
          <a:prstGeom prst="rect">
            <a:avLst/>
          </a:prstGeom>
        </p:spPr>
      </p:pic>
      <p:sp>
        <p:nvSpPr>
          <p:cNvPr id="85" name="Прямоугольник 84"/>
          <p:cNvSpPr/>
          <p:nvPr/>
        </p:nvSpPr>
        <p:spPr>
          <a:xfrm>
            <a:off x="5114975" y="6162355"/>
            <a:ext cx="148029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hop.prosv.ru</a:t>
            </a: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86" name="Рисунок 8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48187" y="4793656"/>
            <a:ext cx="1277713" cy="1277713"/>
          </a:xfrm>
          <a:prstGeom prst="rect">
            <a:avLst/>
          </a:prstGeom>
        </p:spPr>
      </p:pic>
      <p:sp>
        <p:nvSpPr>
          <p:cNvPr id="87" name="Прямоугольник 86"/>
          <p:cNvSpPr/>
          <p:nvPr/>
        </p:nvSpPr>
        <p:spPr>
          <a:xfrm>
            <a:off x="7338283" y="6127777"/>
            <a:ext cx="177773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cademy.prosv.ru</a:t>
            </a: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64512" name="Прямоугольник 64511"/>
          <p:cNvSpPr/>
          <p:nvPr/>
        </p:nvSpPr>
        <p:spPr>
          <a:xfrm>
            <a:off x="9600143" y="4063581"/>
            <a:ext cx="13688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isa.prosv.ru</a:t>
            </a:r>
          </a:p>
        </p:txBody>
      </p:sp>
      <p:sp>
        <p:nvSpPr>
          <p:cNvPr id="88" name="Прямоугольник 87"/>
          <p:cNvSpPr/>
          <p:nvPr/>
        </p:nvSpPr>
        <p:spPr>
          <a:xfrm>
            <a:off x="6177149" y="4117984"/>
            <a:ext cx="225631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sv.ru/</a:t>
            </a:r>
            <a:r>
              <a:rPr lang="en-US" u="sng" dirty="0" err="1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klama</a:t>
            </a:r>
            <a:r>
              <a:rPr lang="en-US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/</a:t>
            </a:r>
            <a:endParaRPr lang="ru-RU" u="sng" dirty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AE188DD6-3492-479B-AF66-F48E9A8F543C}"/>
              </a:ext>
            </a:extLst>
          </p:cNvPr>
          <p:cNvSpPr txBox="1"/>
          <p:nvPr/>
        </p:nvSpPr>
        <p:spPr>
          <a:xfrm>
            <a:off x="5781428" y="2445247"/>
            <a:ext cx="2988143" cy="66484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>
              <a:defRPr sz="1400" b="1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/>
            <a:r>
              <a:rPr lang="ru-RU" dirty="0" smtClean="0">
                <a:solidFill>
                  <a:schemeClr val="bg1"/>
                </a:solidFill>
              </a:rPr>
              <a:t>Презентации и </a:t>
            </a:r>
            <a:r>
              <a:rPr lang="ru-RU" dirty="0" smtClean="0">
                <a:solidFill>
                  <a:schemeClr val="bg1"/>
                </a:solidFill>
              </a:rPr>
              <a:t>рекламные материалы</a:t>
            </a:r>
            <a:endParaRPr lang="ru-RU" dirty="0" smtClean="0">
              <a:solidFill>
                <a:schemeClr val="bg1"/>
              </a:solidFill>
            </a:endParaRPr>
          </a:p>
        </p:txBody>
      </p:sp>
      <p:pic>
        <p:nvPicPr>
          <p:cNvPr id="90" name="Picture 2" descr="https://dabar.srce.hr/sites/default/files/field/image/2000px-gnome-x-office-presentation.svg_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2841" y="3184773"/>
            <a:ext cx="1045315" cy="812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852" name="Picture 4" descr="ÐÐ°ÑÑÐ¸Ð½ÐºÐ¸ Ð¿Ð¾ Ð·Ð°Ð¿ÑÐ¾ÑÑ Ð¸ÑÑÐ»ÐµÐ´Ð¾Ð²Ð°Ð½Ð¸Ñ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18822" y="3275015"/>
            <a:ext cx="1423842" cy="8024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8848" name="Номер слайда 7884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34426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-1615" y="1424776"/>
            <a:ext cx="12192000" cy="1325563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ПАСИБО ЗА </a:t>
            </a: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НИМАНИЕ!</a:t>
            </a:r>
            <a:b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6" name="Подзаголовок 2"/>
          <p:cNvSpPr txBox="1">
            <a:spLocks/>
          </p:cNvSpPr>
          <p:nvPr/>
        </p:nvSpPr>
        <p:spPr>
          <a:xfrm>
            <a:off x="2798855" y="2862924"/>
            <a:ext cx="7330667" cy="28161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29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руппа компаний «Просвещение»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400" b="1" spc="-4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дрес: 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27473, Москва, ул.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раснопролетарская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д.16, стр.3, подъезд 8, бизнес-центр «Новослободский»</a:t>
            </a:r>
            <a:b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1400" b="1" spc="-4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Телефон: 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+7 (495) 789-30-40</a:t>
            </a:r>
            <a:b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1400" b="1" spc="-4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акс: 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+7 (495) 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789-30-41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1400" b="1" spc="-4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айт: 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prosv.ru</a:t>
            </a:r>
            <a:endParaRPr lang="ru-RU" sz="1600" dirty="0" smtClean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400" b="1" spc="-4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орячая линия: </a:t>
            </a:r>
            <a:r>
              <a:rPr lang="en-US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vopros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@</a:t>
            </a:r>
            <a:r>
              <a:rPr 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prosv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.</a:t>
            </a:r>
            <a:r>
              <a:rPr lang="en-US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ru</a:t>
            </a:r>
            <a:r>
              <a:rPr lang="ru-RU" sz="1400" b="1" spc="-4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ru-RU" sz="1400" b="1" spc="-4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29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ru-RU" sz="29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lang="ru-RU" sz="29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68" name="Рисунок 24">
            <a:hlinkClick r:id="rId5"/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464" y="3036445"/>
            <a:ext cx="1870014" cy="1870014"/>
          </a:xfrm>
          <a:prstGeom prst="rect">
            <a:avLst/>
          </a:prstGeom>
        </p:spPr>
      </p:pic>
      <p:sp>
        <p:nvSpPr>
          <p:cNvPr id="69" name="Заголовок 1"/>
          <p:cNvSpPr txBox="1">
            <a:spLocks/>
          </p:cNvSpPr>
          <p:nvPr/>
        </p:nvSpPr>
        <p:spPr bwMode="auto">
          <a:xfrm>
            <a:off x="215445" y="5667488"/>
            <a:ext cx="9007880" cy="74079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endParaRPr lang="ru-RU" sz="2400" b="1" cap="al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0" name="Прямая соединительная линия 69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Группа 72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74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8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9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0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1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2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3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4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5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6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7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338283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Группа 52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54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6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9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4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6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9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0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6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3" name="Прямоугольник 2"/>
          <p:cNvSpPr/>
          <p:nvPr/>
        </p:nvSpPr>
        <p:spPr>
          <a:xfrm>
            <a:off x="596176" y="365162"/>
            <a:ext cx="1152673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Единая система оценки качества образования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0" name="TextBox 41">
            <a:extLst>
              <a:ext uri="{FF2B5EF4-FFF2-40B4-BE49-F238E27FC236}">
                <a16:creationId xmlns:a16="http://schemas.microsoft.com/office/drawing/2014/main" id="{6A11E227-FD05-4E16-8900-13031C87BF42}"/>
              </a:ext>
            </a:extLst>
          </p:cNvPr>
          <p:cNvSpPr txBox="1"/>
          <p:nvPr/>
        </p:nvSpPr>
        <p:spPr>
          <a:xfrm>
            <a:off x="8294430" y="5722484"/>
            <a:ext cx="2913092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еждународные исследования</a:t>
            </a:r>
            <a:endParaRPr lang="ru-RU" sz="1400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8057842" y="3196059"/>
            <a:ext cx="413635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ациональные исследования </a:t>
            </a:r>
            <a:endParaRPr lang="ru-RU" sz="1400" dirty="0" smtClean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algn="ctr"/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ачества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бразования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353825" y="3123579"/>
            <a:ext cx="197964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осударственная </a:t>
            </a:r>
            <a:endParaRPr lang="ru-RU" sz="1400" dirty="0" smtClean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algn="ctr"/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тоговая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аттестация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241486" y="5495887"/>
            <a:ext cx="209198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российские </a:t>
            </a:r>
            <a:endParaRPr lang="ru-RU" sz="1400" dirty="0" smtClean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algn="ctr"/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оверочные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аботы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4234218" y="1282291"/>
            <a:ext cx="385073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бщероссийская оценка по модели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ISA</a:t>
            </a:r>
            <a:r>
              <a: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*</a:t>
            </a:r>
            <a:endParaRPr lang="ru-RU" sz="1400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6605299" y="6622611"/>
            <a:ext cx="558889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*</a:t>
            </a:r>
            <a:r>
              <a:rPr lang="ru-RU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иказ </a:t>
            </a: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ИНПРОСВЕЩЕНИЯ N 219, РОСОБРНАДЗОРА приказ N 590, от 06.05.2019</a:t>
            </a:r>
          </a:p>
        </p:txBody>
      </p:sp>
      <p:sp>
        <p:nvSpPr>
          <p:cNvPr id="96" name="Прямоугольник 9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15304" y="6651116"/>
            <a:ext cx="2101326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5270253" y="2030438"/>
            <a:ext cx="12135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ISA</a:t>
            </a:r>
            <a:endParaRPr lang="ru-RU" sz="24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4" name="Прямая соединительная линия 33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3525044" y="1272949"/>
            <a:ext cx="88037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FF000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ОВОЕ!</a:t>
            </a:r>
            <a:endParaRPr lang="ru-RU" sz="1400" b="1" dirty="0">
              <a:solidFill>
                <a:srgbClr val="FF0000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10" name="Группа 9"/>
          <p:cNvGrpSpPr/>
          <p:nvPr/>
        </p:nvGrpSpPr>
        <p:grpSpPr>
          <a:xfrm>
            <a:off x="3281123" y="1599044"/>
            <a:ext cx="5523490" cy="4537666"/>
            <a:chOff x="3281123" y="1599044"/>
            <a:chExt cx="5523490" cy="4537666"/>
          </a:xfrm>
        </p:grpSpPr>
        <p:grpSp>
          <p:nvGrpSpPr>
            <p:cNvPr id="9" name="Группа 8"/>
            <p:cNvGrpSpPr/>
            <p:nvPr/>
          </p:nvGrpSpPr>
          <p:grpSpPr>
            <a:xfrm>
              <a:off x="3333469" y="1599044"/>
              <a:ext cx="5450890" cy="4537666"/>
              <a:chOff x="3381956" y="1489057"/>
              <a:chExt cx="5450890" cy="4537666"/>
            </a:xfrm>
          </p:grpSpPr>
          <p:sp>
            <p:nvSpPr>
              <p:cNvPr id="87" name="Полилиния: фигура 81">
                <a:extLst>
                  <a:ext uri="{FF2B5EF4-FFF2-40B4-BE49-F238E27FC236}">
                    <a16:creationId xmlns:a16="http://schemas.microsoft.com/office/drawing/2014/main" id="{7E4E9A42-580C-41D5-8D94-84683A11A8C9}"/>
                  </a:ext>
                </a:extLst>
              </p:cNvPr>
              <p:cNvSpPr/>
              <p:nvPr/>
            </p:nvSpPr>
            <p:spPr>
              <a:xfrm>
                <a:off x="3381956" y="1490234"/>
                <a:ext cx="5450890" cy="4536489"/>
              </a:xfrm>
              <a:custGeom>
                <a:avLst/>
                <a:gdLst>
                  <a:gd name="connsiteX0" fmla="*/ 1239899 w 2487142"/>
                  <a:gd name="connsiteY0" fmla="*/ 337 h 2322329"/>
                  <a:gd name="connsiteX1" fmla="*/ 1507315 w 2487142"/>
                  <a:gd name="connsiteY1" fmla="*/ 197071 h 2322329"/>
                  <a:gd name="connsiteX2" fmla="*/ 1318646 w 2487142"/>
                  <a:gd name="connsiteY2" fmla="*/ 517080 h 2322329"/>
                  <a:gd name="connsiteX3" fmla="*/ 1318646 w 2487142"/>
                  <a:gd name="connsiteY3" fmla="*/ 895666 h 2322329"/>
                  <a:gd name="connsiteX4" fmla="*/ 1609891 w 2487142"/>
                  <a:gd name="connsiteY4" fmla="*/ 1097930 h 2322329"/>
                  <a:gd name="connsiteX5" fmla="*/ 1962538 w 2487142"/>
                  <a:gd name="connsiteY5" fmla="*/ 950500 h 2322329"/>
                  <a:gd name="connsiteX6" fmla="*/ 2121236 w 2487142"/>
                  <a:gd name="connsiteY6" fmla="*/ 672671 h 2322329"/>
                  <a:gd name="connsiteX7" fmla="*/ 2467867 w 2487142"/>
                  <a:gd name="connsiteY7" fmla="*/ 812594 h 2322329"/>
                  <a:gd name="connsiteX8" fmla="*/ 2325364 w 2487142"/>
                  <a:gd name="connsiteY8" fmla="*/ 1157361 h 2322329"/>
                  <a:gd name="connsiteX9" fmla="*/ 2016716 w 2487142"/>
                  <a:gd name="connsiteY9" fmla="*/ 1071990 h 2322329"/>
                  <a:gd name="connsiteX10" fmla="*/ 1655532 w 2487142"/>
                  <a:gd name="connsiteY10" fmla="*/ 1220404 h 2322329"/>
                  <a:gd name="connsiteX11" fmla="*/ 1663412 w 2487142"/>
                  <a:gd name="connsiteY11" fmla="*/ 1300193 h 2322329"/>
                  <a:gd name="connsiteX12" fmla="*/ 1580340 w 2487142"/>
                  <a:gd name="connsiteY12" fmla="*/ 1547111 h 2322329"/>
                  <a:gd name="connsiteX13" fmla="*/ 1864033 w 2487142"/>
                  <a:gd name="connsiteY13" fmla="*/ 1833760 h 2322329"/>
                  <a:gd name="connsiteX14" fmla="*/ 2185031 w 2487142"/>
                  <a:gd name="connsiteY14" fmla="*/ 1875105 h 2322329"/>
                  <a:gd name="connsiteX15" fmla="*/ 2182647 w 2487142"/>
                  <a:gd name="connsiteY15" fmla="*/ 2246580 h 2322329"/>
                  <a:gd name="connsiteX16" fmla="*/ 1811169 w 2487142"/>
                  <a:gd name="connsiteY16" fmla="*/ 2244196 h 2322329"/>
                  <a:gd name="connsiteX17" fmla="*/ 1771768 w 2487142"/>
                  <a:gd name="connsiteY17" fmla="*/ 1922414 h 2322329"/>
                  <a:gd name="connsiteX18" fmla="*/ 1486761 w 2487142"/>
                  <a:gd name="connsiteY18" fmla="*/ 1637407 h 2322329"/>
                  <a:gd name="connsiteX19" fmla="*/ 1019192 w 2487142"/>
                  <a:gd name="connsiteY19" fmla="*/ 1637407 h 2322329"/>
                  <a:gd name="connsiteX20" fmla="*/ 734185 w 2487142"/>
                  <a:gd name="connsiteY20" fmla="*/ 1922414 h 2322329"/>
                  <a:gd name="connsiteX21" fmla="*/ 734185 w 2487142"/>
                  <a:gd name="connsiteY21" fmla="*/ 2190406 h 2322329"/>
                  <a:gd name="connsiteX22" fmla="*/ 374256 w 2487142"/>
                  <a:gd name="connsiteY22" fmla="*/ 2282343 h 2322329"/>
                  <a:gd name="connsiteX23" fmla="*/ 282318 w 2487142"/>
                  <a:gd name="connsiteY23" fmla="*/ 1922414 h 2322329"/>
                  <a:gd name="connsiteX24" fmla="*/ 642247 w 2487142"/>
                  <a:gd name="connsiteY24" fmla="*/ 1830476 h 2322329"/>
                  <a:gd name="connsiteX25" fmla="*/ 924299 w 2487142"/>
                  <a:gd name="connsiteY25" fmla="*/ 1544813 h 2322329"/>
                  <a:gd name="connsiteX26" fmla="*/ 850749 w 2487142"/>
                  <a:gd name="connsiteY26" fmla="*/ 1216464 h 2322329"/>
                  <a:gd name="connsiteX27" fmla="*/ 487923 w 2487142"/>
                  <a:gd name="connsiteY27" fmla="*/ 1068707 h 2322329"/>
                  <a:gd name="connsiteX28" fmla="*/ 223951 w 2487142"/>
                  <a:gd name="connsiteY28" fmla="*/ 1166473 h 2322329"/>
                  <a:gd name="connsiteX29" fmla="*/ 4696 w 2487142"/>
                  <a:gd name="connsiteY29" fmla="*/ 846683 h 2322329"/>
                  <a:gd name="connsiteX30" fmla="*/ 324488 w 2487142"/>
                  <a:gd name="connsiteY30" fmla="*/ 627425 h 2322329"/>
                  <a:gd name="connsiteX31" fmla="*/ 543743 w 2487142"/>
                  <a:gd name="connsiteY31" fmla="*/ 947217 h 2322329"/>
                  <a:gd name="connsiteX32" fmla="*/ 897703 w 2487142"/>
                  <a:gd name="connsiteY32" fmla="*/ 1095303 h 2322329"/>
                  <a:gd name="connsiteX33" fmla="*/ 1187306 w 2487142"/>
                  <a:gd name="connsiteY33" fmla="*/ 895338 h 2322329"/>
                  <a:gd name="connsiteX34" fmla="*/ 1187306 w 2487142"/>
                  <a:gd name="connsiteY34" fmla="*/ 517080 h 2322329"/>
                  <a:gd name="connsiteX35" fmla="*/ 998637 w 2487142"/>
                  <a:gd name="connsiteY35" fmla="*/ 328411 h 2322329"/>
                  <a:gd name="connsiteX36" fmla="*/ 1187306 w 2487142"/>
                  <a:gd name="connsiteY36" fmla="*/ 8405 h 2322329"/>
                  <a:gd name="connsiteX37" fmla="*/ 1239899 w 2487142"/>
                  <a:gd name="connsiteY37" fmla="*/ 337 h 2322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2487142" h="2322329">
                    <a:moveTo>
                      <a:pt x="1239899" y="337"/>
                    </a:moveTo>
                    <a:cubicBezTo>
                      <a:pt x="1361920" y="-5871"/>
                      <a:pt x="1475580" y="74165"/>
                      <a:pt x="1507315" y="197071"/>
                    </a:cubicBezTo>
                    <a:cubicBezTo>
                      <a:pt x="1543581" y="337539"/>
                      <a:pt x="1459114" y="480810"/>
                      <a:pt x="1318646" y="517080"/>
                    </a:cubicBezTo>
                    <a:lnTo>
                      <a:pt x="1318646" y="895666"/>
                    </a:lnTo>
                    <a:cubicBezTo>
                      <a:pt x="1441383" y="915420"/>
                      <a:pt x="1548517" y="989820"/>
                      <a:pt x="1609891" y="1097930"/>
                    </a:cubicBezTo>
                    <a:lnTo>
                      <a:pt x="1962538" y="950500"/>
                    </a:lnTo>
                    <a:cubicBezTo>
                      <a:pt x="1947014" y="832754"/>
                      <a:pt x="2011928" y="719113"/>
                      <a:pt x="2121236" y="672671"/>
                    </a:cubicBezTo>
                    <a:cubicBezTo>
                      <a:pt x="2255593" y="615591"/>
                      <a:pt x="2410787" y="678237"/>
                      <a:pt x="2467867" y="812594"/>
                    </a:cubicBezTo>
                    <a:cubicBezTo>
                      <a:pt x="2521874" y="947145"/>
                      <a:pt x="2458608" y="1100206"/>
                      <a:pt x="2325364" y="1157361"/>
                    </a:cubicBezTo>
                    <a:cubicBezTo>
                      <a:pt x="2215025" y="1202158"/>
                      <a:pt x="2088352" y="1167120"/>
                      <a:pt x="2016716" y="1071990"/>
                    </a:cubicBezTo>
                    <a:lnTo>
                      <a:pt x="1655532" y="1220404"/>
                    </a:lnTo>
                    <a:cubicBezTo>
                      <a:pt x="1660818" y="1246669"/>
                      <a:pt x="1663458" y="1273400"/>
                      <a:pt x="1663412" y="1300193"/>
                    </a:cubicBezTo>
                    <a:cubicBezTo>
                      <a:pt x="1663439" y="1389363"/>
                      <a:pt x="1634262" y="1476089"/>
                      <a:pt x="1580340" y="1547111"/>
                    </a:cubicBezTo>
                    <a:lnTo>
                      <a:pt x="1864033" y="1833760"/>
                    </a:lnTo>
                    <a:cubicBezTo>
                      <a:pt x="1967825" y="1772158"/>
                      <a:pt x="2100238" y="1789213"/>
                      <a:pt x="2185031" y="1875105"/>
                    </a:cubicBezTo>
                    <a:cubicBezTo>
                      <a:pt x="2286954" y="1978345"/>
                      <a:pt x="2285886" y="2144660"/>
                      <a:pt x="2182647" y="2246580"/>
                    </a:cubicBezTo>
                    <a:cubicBezTo>
                      <a:pt x="2079407" y="2348503"/>
                      <a:pt x="1913092" y="2347435"/>
                      <a:pt x="1811169" y="2244196"/>
                    </a:cubicBezTo>
                    <a:cubicBezTo>
                      <a:pt x="1727591" y="2157798"/>
                      <a:pt x="1711506" y="2026425"/>
                      <a:pt x="1771768" y="1922414"/>
                    </a:cubicBezTo>
                    <a:lnTo>
                      <a:pt x="1486761" y="1637407"/>
                    </a:lnTo>
                    <a:cubicBezTo>
                      <a:pt x="1346198" y="1735052"/>
                      <a:pt x="1159755" y="1735052"/>
                      <a:pt x="1019192" y="1637407"/>
                    </a:cubicBezTo>
                    <a:lnTo>
                      <a:pt x="734185" y="1922414"/>
                    </a:lnTo>
                    <a:cubicBezTo>
                      <a:pt x="783181" y="2005027"/>
                      <a:pt x="783181" y="2107793"/>
                      <a:pt x="734185" y="2190406"/>
                    </a:cubicBezTo>
                    <a:cubicBezTo>
                      <a:pt x="660182" y="2315185"/>
                      <a:pt x="499038" y="2356347"/>
                      <a:pt x="374256" y="2282343"/>
                    </a:cubicBezTo>
                    <a:cubicBezTo>
                      <a:pt x="249476" y="2208337"/>
                      <a:pt x="208315" y="2047193"/>
                      <a:pt x="282318" y="1922414"/>
                    </a:cubicBezTo>
                    <a:cubicBezTo>
                      <a:pt x="356324" y="1797635"/>
                      <a:pt x="517468" y="1756473"/>
                      <a:pt x="642247" y="1830476"/>
                    </a:cubicBezTo>
                    <a:lnTo>
                      <a:pt x="924299" y="1544813"/>
                    </a:lnTo>
                    <a:cubicBezTo>
                      <a:pt x="853747" y="1451013"/>
                      <a:pt x="826953" y="1331396"/>
                      <a:pt x="850749" y="1216464"/>
                    </a:cubicBezTo>
                    <a:lnTo>
                      <a:pt x="487923" y="1068707"/>
                    </a:lnTo>
                    <a:cubicBezTo>
                      <a:pt x="424654" y="1147425"/>
                      <a:pt x="323233" y="1184992"/>
                      <a:pt x="223951" y="1166473"/>
                    </a:cubicBezTo>
                    <a:cubicBezTo>
                      <a:pt x="75097" y="1138711"/>
                      <a:pt x="-23067" y="995537"/>
                      <a:pt x="4696" y="846683"/>
                    </a:cubicBezTo>
                    <a:cubicBezTo>
                      <a:pt x="32458" y="697829"/>
                      <a:pt x="175631" y="599663"/>
                      <a:pt x="324488" y="627425"/>
                    </a:cubicBezTo>
                    <a:cubicBezTo>
                      <a:pt x="473341" y="655187"/>
                      <a:pt x="571505" y="798363"/>
                      <a:pt x="543743" y="947217"/>
                    </a:cubicBezTo>
                    <a:lnTo>
                      <a:pt x="897703" y="1095303"/>
                    </a:lnTo>
                    <a:cubicBezTo>
                      <a:pt x="959242" y="988477"/>
                      <a:pt x="1065607" y="915035"/>
                      <a:pt x="1187306" y="895338"/>
                    </a:cubicBezTo>
                    <a:lnTo>
                      <a:pt x="1187306" y="517080"/>
                    </a:lnTo>
                    <a:cubicBezTo>
                      <a:pt x="1094781" y="493189"/>
                      <a:pt x="1022528" y="420936"/>
                      <a:pt x="998637" y="328411"/>
                    </a:cubicBezTo>
                    <a:cubicBezTo>
                      <a:pt x="962371" y="187946"/>
                      <a:pt x="1046839" y="44671"/>
                      <a:pt x="1187306" y="8405"/>
                    </a:cubicBezTo>
                    <a:cubicBezTo>
                      <a:pt x="1204865" y="3871"/>
                      <a:pt x="1222467" y="1224"/>
                      <a:pt x="1239899" y="337"/>
                    </a:cubicBezTo>
                    <a:close/>
                  </a:path>
                </a:pathLst>
              </a:custGeom>
              <a:gradFill>
                <a:gsLst>
                  <a:gs pos="0">
                    <a:srgbClr val="00B0F0"/>
                  </a:gs>
                  <a:gs pos="88000">
                    <a:srgbClr val="2D2B8D"/>
                  </a:gs>
                </a:gsLst>
                <a:lin ang="2400000" scaled="0"/>
              </a:gradFill>
              <a:ln w="32742" cap="flat">
                <a:noFill/>
                <a:prstDash val="solid"/>
                <a:miter/>
              </a:ln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>
                  <a:solidFill>
                    <a:schemeClr val="tx1"/>
                  </a:solidFill>
                </a:endParaRPr>
              </a:p>
            </p:txBody>
          </p:sp>
          <p:pic>
            <p:nvPicPr>
              <p:cNvPr id="2" name="Рисунок 1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5268289" y="1489057"/>
                <a:ext cx="1971675" cy="1752600"/>
              </a:xfrm>
              <a:prstGeom prst="rect">
                <a:avLst/>
              </a:prstGeom>
            </p:spPr>
          </p:pic>
        </p:grpSp>
        <p:sp>
          <p:nvSpPr>
            <p:cNvPr id="94" name="TextBox 93"/>
            <p:cNvSpPr txBox="1"/>
            <p:nvPr/>
          </p:nvSpPr>
          <p:spPr>
            <a:xfrm>
              <a:off x="3281123" y="3133161"/>
              <a:ext cx="121353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 smtClean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ГИА</a:t>
              </a:r>
              <a:endParaRPr lang="ru-RU" sz="2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95" name="TextBox 94"/>
            <p:cNvSpPr txBox="1"/>
            <p:nvPr/>
          </p:nvSpPr>
          <p:spPr>
            <a:xfrm>
              <a:off x="3769507" y="5470199"/>
              <a:ext cx="121353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 smtClean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ВПР </a:t>
              </a:r>
              <a:endParaRPr lang="ru-RU" sz="2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93" name="TextBox 92"/>
            <p:cNvSpPr txBox="1"/>
            <p:nvPr/>
          </p:nvSpPr>
          <p:spPr>
            <a:xfrm>
              <a:off x="7591081" y="3196059"/>
              <a:ext cx="121353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 smtClean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НИКО</a:t>
              </a:r>
              <a:endParaRPr lang="ru-RU" sz="2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92" name="TextBox 91"/>
            <p:cNvSpPr txBox="1"/>
            <p:nvPr/>
          </p:nvSpPr>
          <p:spPr>
            <a:xfrm>
              <a:off x="7080898" y="5429745"/>
              <a:ext cx="121353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 smtClean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МИ</a:t>
              </a:r>
              <a:endParaRPr lang="ru-RU" sz="2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36" name="Номер слайда 8"/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1200" dirty="0" smtClean="0">
                <a:solidFill>
                  <a:schemeClr val="tx1">
                    <a:tint val="75000"/>
                  </a:schemeClr>
                </a:solidFill>
              </a:rPr>
              <a:t>3</a:t>
            </a:r>
            <a:endParaRPr lang="ru-RU" sz="1200" dirty="0">
              <a:solidFill>
                <a:schemeClr val="tx1">
                  <a:tint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176491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370055" y="491706"/>
            <a:ext cx="975359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бщероссийская оценка по модели PISA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6485863" y="6585028"/>
            <a:ext cx="573940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о материалам ФЕДЕРАЛЬНОЙ СЛУЖБЫ ПО НАДЗОРУ В СФЕРЕ ОБРАЗОВАНИЯ И НАУКИ</a:t>
            </a:r>
          </a:p>
        </p:txBody>
      </p: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6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8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0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1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2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3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4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5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15304" y="6708139"/>
            <a:ext cx="115645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2892995"/>
              </p:ext>
            </p:extLst>
          </p:nvPr>
        </p:nvGraphicFramePr>
        <p:xfrm>
          <a:off x="8019873" y="1448512"/>
          <a:ext cx="2990847" cy="48393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3341">
                  <a:extLst>
                    <a:ext uri="{9D8B030D-6E8A-4147-A177-3AD203B41FA5}">
                      <a16:colId xmlns:a16="http://schemas.microsoft.com/office/drawing/2014/main" val="1594603869"/>
                    </a:ext>
                  </a:extLst>
                </a:gridCol>
                <a:gridCol w="2517506">
                  <a:extLst>
                    <a:ext uri="{9D8B030D-6E8A-4147-A177-3AD203B41FA5}">
                      <a16:colId xmlns:a16="http://schemas.microsoft.com/office/drawing/2014/main" val="3401031767"/>
                    </a:ext>
                  </a:extLst>
                </a:gridCol>
              </a:tblGrid>
              <a:tr h="374851">
                <a:tc>
                  <a:txBody>
                    <a:bodyPr/>
                    <a:lstStyle/>
                    <a:p>
                      <a:pPr algn="ctr"/>
                      <a:r>
                        <a:rPr lang="ru-RU" sz="1600" b="1" kern="1200" dirty="0" smtClean="0">
                          <a:solidFill>
                            <a:schemeClr val="lt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№</a:t>
                      </a:r>
                      <a:endParaRPr lang="ru-RU" sz="1600" b="1" kern="1200" dirty="0">
                        <a:solidFill>
                          <a:schemeClr val="lt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19</a:t>
                      </a:r>
                      <a:endParaRPr lang="ru-RU" sz="1600" b="1" dirty="0">
                        <a:solidFill>
                          <a:srgbClr val="002060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0865938"/>
                  </a:ext>
                </a:extLst>
              </a:tr>
              <a:tr h="27558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</a:t>
                      </a:r>
                      <a:r>
                        <a:rPr lang="ru-RU" sz="1100" kern="1200" baseline="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Саха (Якутия)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65727707"/>
                  </a:ext>
                </a:extLst>
              </a:tr>
              <a:tr h="36596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</a:t>
                      </a:r>
                      <a:r>
                        <a:rPr lang="ru-RU" sz="1100" kern="1200" baseline="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Бурятия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5897628"/>
                  </a:ext>
                </a:extLst>
              </a:tr>
              <a:tr h="36596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Саратов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85354612"/>
                  </a:ext>
                </a:extLst>
              </a:tr>
              <a:tr h="36596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Ульянов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85121355"/>
                  </a:ext>
                </a:extLst>
              </a:tr>
              <a:tr h="262457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Волгоград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39381589"/>
                  </a:ext>
                </a:extLst>
              </a:tr>
              <a:tr h="36596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абардино-Балкарская </a:t>
                      </a: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67940084"/>
                  </a:ext>
                </a:extLst>
              </a:tr>
              <a:tr h="36596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7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Ставропольский край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19308571"/>
                  </a:ext>
                </a:extLst>
              </a:tr>
              <a:tr h="36596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8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Иркут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65820550"/>
                  </a:ext>
                </a:extLst>
              </a:tr>
              <a:tr h="27558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9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Том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01012177"/>
                  </a:ext>
                </a:extLst>
              </a:tr>
              <a:tr h="36596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Ямало-Ненецкий</a:t>
                      </a:r>
                      <a:r>
                        <a:rPr lang="ru-RU" sz="1100" kern="1200" baseline="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автономный округ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23475881"/>
                  </a:ext>
                </a:extLst>
              </a:tr>
              <a:tr h="262457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1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Иванов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81204780"/>
                  </a:ext>
                </a:extLst>
              </a:tr>
              <a:tr h="27558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2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Липец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15515066"/>
                  </a:ext>
                </a:extLst>
              </a:tr>
              <a:tr h="27558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3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Брян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80952042"/>
                  </a:ext>
                </a:extLst>
              </a:tr>
              <a:tr h="27558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4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раснодарский край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36362162"/>
                  </a:ext>
                </a:extLst>
              </a:tr>
            </a:tbl>
          </a:graphicData>
        </a:graphic>
      </p:graphicFrame>
      <p:sp>
        <p:nvSpPr>
          <p:cNvPr id="28" name="TextBox 72"/>
          <p:cNvSpPr txBox="1"/>
          <p:nvPr/>
        </p:nvSpPr>
        <p:spPr>
          <a:xfrm>
            <a:off x="473970" y="1407410"/>
            <a:ext cx="7485042" cy="467820"/>
          </a:xfrm>
          <a:prstGeom prst="rect">
            <a:avLst/>
          </a:prstGeom>
          <a:noFill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2900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ценка качества образования на основе практики </a:t>
            </a:r>
          </a:p>
          <a:p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еждународных исследований</a:t>
            </a: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9" name="Подзаголовок 2"/>
          <p:cNvSpPr txBox="1">
            <a:spLocks/>
          </p:cNvSpPr>
          <p:nvPr/>
        </p:nvSpPr>
        <p:spPr>
          <a:xfrm>
            <a:off x="473969" y="2370604"/>
            <a:ext cx="7093157" cy="226215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ru-RU"/>
            </a:defPPr>
            <a:lvl1pPr marR="0" lvl="0" fontAlgn="auto">
              <a:spcAft>
                <a:spcPts val="0"/>
              </a:spcAft>
              <a:buClrTx/>
              <a:buSzTx/>
              <a:tabLst/>
              <a:defRPr sz="1200" b="1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FF000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 каждом регионе — репрезентативная выборка, от 75 до 150    </a:t>
            </a:r>
          </a:p>
          <a:p>
            <a:pPr>
              <a:spcAft>
                <a:spcPts val="600"/>
              </a:spcAft>
            </a:pPr>
            <a:r>
              <a:rPr lang="ru-RU" sz="1400" dirty="0" smtClean="0">
                <a:solidFill>
                  <a:srgbClr val="FF000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     образовательных организаций</a:t>
            </a:r>
          </a:p>
          <a:p>
            <a:pPr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FF000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рок проведения: сентябрь—октябрь</a:t>
            </a:r>
          </a:p>
          <a:p>
            <a:pPr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Школьники в возрасте от 15 лет и 3 месяцев до 16 лет и 2 месяцев</a:t>
            </a:r>
          </a:p>
          <a:p>
            <a:pPr>
              <a:spcAft>
                <a:spcPts val="600"/>
              </a:spcAft>
            </a:pPr>
            <a:r>
              <a:rPr lang="ru-RU" sz="14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ru-RU" sz="1400" b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    (с 7-ого класса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ценка проводится на компьютерах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 процессе проведения в аудитории присутствует не менее 2 организаторов</a:t>
            </a:r>
          </a:p>
          <a:p>
            <a:pPr>
              <a:spcAft>
                <a:spcPts val="600"/>
              </a:spcAft>
            </a:pPr>
            <a:endParaRPr lang="ru-RU" sz="1400" b="0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757257" y="4348091"/>
            <a:ext cx="4337257" cy="39959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>
              <a:defRPr sz="1400" b="1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600" dirty="0" smtClean="0">
                <a:solidFill>
                  <a:schemeClr val="bg1"/>
                </a:solidFill>
              </a:rPr>
              <a:t>Как формируются группы субъектов:</a:t>
            </a: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31" name="Подзаголовок 2"/>
          <p:cNvSpPr txBox="1">
            <a:spLocks/>
          </p:cNvSpPr>
          <p:nvPr/>
        </p:nvSpPr>
        <p:spPr>
          <a:xfrm>
            <a:off x="473969" y="4891682"/>
            <a:ext cx="7093157" cy="109260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ru-RU"/>
            </a:defPPr>
            <a:lvl1pPr marR="0" lvl="0" fontAlgn="auto">
              <a:spcAft>
                <a:spcPts val="0"/>
              </a:spcAft>
              <a:buClrTx/>
              <a:buSzTx/>
              <a:tabLst/>
              <a:defRPr sz="1200" b="1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ru-RU" sz="1400" b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хожие размеры групп по количеству обучающихся.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ru-RU" sz="1400" b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едставительство всех федеральных округов.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ru-RU" sz="1400" b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едставительство «сельских» и «городских» регионов</a:t>
            </a:r>
          </a:p>
          <a:p>
            <a:pPr>
              <a:spcAft>
                <a:spcPts val="600"/>
              </a:spcAft>
            </a:pPr>
            <a:endParaRPr lang="ru-RU" sz="1400" b="0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25138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4162698"/>
              </p:ext>
            </p:extLst>
          </p:nvPr>
        </p:nvGraphicFramePr>
        <p:xfrm>
          <a:off x="247830" y="1375647"/>
          <a:ext cx="10873805" cy="52131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7476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7476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7476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7476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17476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10212"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20</a:t>
                      </a:r>
                      <a:endParaRPr lang="ru-RU" sz="2000" b="1" dirty="0">
                        <a:solidFill>
                          <a:srgbClr val="002060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21</a:t>
                      </a:r>
                      <a:endParaRPr lang="ru-RU" sz="2000" b="1" dirty="0">
                        <a:solidFill>
                          <a:srgbClr val="002060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22</a:t>
                      </a:r>
                      <a:endParaRPr lang="ru-RU" sz="2000" b="1" dirty="0">
                        <a:solidFill>
                          <a:srgbClr val="002060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23</a:t>
                      </a:r>
                      <a:endParaRPr lang="ru-RU" sz="2000" b="1" dirty="0">
                        <a:solidFill>
                          <a:srgbClr val="002060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24</a:t>
                      </a:r>
                      <a:endParaRPr lang="ru-RU" sz="2000" b="1" dirty="0">
                        <a:solidFill>
                          <a:srgbClr val="002060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0534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Сахалин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Амур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Магадан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амчатский край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Приморский край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2346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Нижегород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Пермский край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Чукотский автономный округ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Хабаровский край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Забайкальский край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2346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Чувашская Республика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иров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Оренбург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Еврейская автономн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Самар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270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г. Санкт-Петербург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Удмуртская Республика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Мордовия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Татарстан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Башкортостан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8604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Коми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Марий Эл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Новгород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Пензен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Ленинград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3270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Ингушетия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Мурман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Архангель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алининград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Карелия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2346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Ом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Дагестан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Псков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Северная Осетия-Алания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Ненецкий автономный округ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2346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Тыва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расноярский край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арачаево-Черкесская Республика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Алтайский край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Чеченская Республика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50534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Челябин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Новосибир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Хакасия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урган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емеров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72346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Владимир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Алтай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Ханты-Мансийский автономный округ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Москов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Тюмен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38604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Туль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Свердлов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г. Москва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Ярослав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Тамбов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50534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Воронеж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алуж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остром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Смолен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язан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50534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Волгоград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Орлов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остов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Белгород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Твер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98236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Калмыкия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Адыгея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Крым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Астрахан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  <a:spcAft>
                          <a:spcPts val="600"/>
                        </a:spcAft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урская область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98236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г. Севастополь</a:t>
                      </a:r>
                    </a:p>
                    <a:p>
                      <a:pPr>
                        <a:lnSpc>
                          <a:spcPct val="80000"/>
                        </a:lnSpc>
                      </a:pP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16482889"/>
                  </a:ext>
                </a:extLst>
              </a:tr>
            </a:tbl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370055" y="501037"/>
            <a:ext cx="975359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бщероссийская оценка по модели PISA</a:t>
            </a:r>
          </a:p>
        </p:txBody>
      </p: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8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9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0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1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2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3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4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15304" y="6651116"/>
            <a:ext cx="1060554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45741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78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Box 24"/>
          <p:cNvSpPr txBox="1"/>
          <p:nvPr/>
        </p:nvSpPr>
        <p:spPr>
          <a:xfrm>
            <a:off x="497323" y="470893"/>
            <a:ext cx="10124344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еждународная оценка качества образования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22" name="Группа 21">
            <a:extLst>
              <a:ext uri="{FF2B5EF4-FFF2-40B4-BE49-F238E27FC236}">
                <a16:creationId xmlns:a16="http://schemas.microsoft.com/office/drawing/2014/main" id="{7106F981-03BD-438C-B3C5-64F059D95C1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6891D160-0CD3-48D9-8D8E-6CE0F436A0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C222A382-C8D8-4105-A7CB-04DDC6725B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F3ADE82C-D237-43B0-9DF6-8362431AC1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6A870F80-7222-4499-9B2D-4B5922E022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717148FB-FD8E-40C4-8A36-C09422865C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CE893D96-1260-4DB9-BB13-64AE7C3C35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0" name="Freeform 12">
              <a:extLst>
                <a:ext uri="{FF2B5EF4-FFF2-40B4-BE49-F238E27FC236}">
                  <a16:creationId xmlns:a16="http://schemas.microsoft.com/office/drawing/2014/main" id="{4F38DB4D-DA4C-4EF3-BD49-E8EF68A6C9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1" name="Freeform 13">
              <a:extLst>
                <a:ext uri="{FF2B5EF4-FFF2-40B4-BE49-F238E27FC236}">
                  <a16:creationId xmlns:a16="http://schemas.microsoft.com/office/drawing/2014/main" id="{C7D7718E-9616-46EE-B36D-E5CF50478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2" name="Freeform 14">
              <a:extLst>
                <a:ext uri="{FF2B5EF4-FFF2-40B4-BE49-F238E27FC236}">
                  <a16:creationId xmlns:a16="http://schemas.microsoft.com/office/drawing/2014/main" id="{33F34C3C-F3B4-4770-BA6D-DF0E86E220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3" name="Freeform 15">
              <a:extLst>
                <a:ext uri="{FF2B5EF4-FFF2-40B4-BE49-F238E27FC236}">
                  <a16:creationId xmlns:a16="http://schemas.microsoft.com/office/drawing/2014/main" id="{57140168-CC76-405B-82B9-6F9CC78E43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4" name="Freeform 16">
              <a:extLst>
                <a:ext uri="{FF2B5EF4-FFF2-40B4-BE49-F238E27FC236}">
                  <a16:creationId xmlns:a16="http://schemas.microsoft.com/office/drawing/2014/main" id="{54D60F97-AC91-4145-80C0-0E50BD7DE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5" name="Freeform 17">
              <a:extLst>
                <a:ext uri="{FF2B5EF4-FFF2-40B4-BE49-F238E27FC236}">
                  <a16:creationId xmlns:a16="http://schemas.microsoft.com/office/drawing/2014/main" id="{83FA0712-5C34-42F6-A825-8C09A3B5A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6" name="Freeform 18">
              <a:extLst>
                <a:ext uri="{FF2B5EF4-FFF2-40B4-BE49-F238E27FC236}">
                  <a16:creationId xmlns:a16="http://schemas.microsoft.com/office/drawing/2014/main" id="{E754BD79-5098-4673-81AE-3EEBDE875B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7" name="Freeform 19">
              <a:extLst>
                <a:ext uri="{FF2B5EF4-FFF2-40B4-BE49-F238E27FC236}">
                  <a16:creationId xmlns:a16="http://schemas.microsoft.com/office/drawing/2014/main" id="{77199AD2-506A-4C9F-9D44-E2F4837951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38" name="Прямоугольник 37"/>
          <p:cNvSpPr/>
          <p:nvPr/>
        </p:nvSpPr>
        <p:spPr>
          <a:xfrm>
            <a:off x="374938" y="1385108"/>
            <a:ext cx="10010034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еждународные рейтинги качества систем образования опираются на данные исследований </a:t>
            </a:r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IRLS, TIMSS </a:t>
            </a:r>
            <a: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 </a:t>
            </a:r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ISA</a:t>
            </a:r>
            <a: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5104" y="2172631"/>
            <a:ext cx="1072989" cy="749873"/>
          </a:xfrm>
          <a:prstGeom prst="rect">
            <a:avLst/>
          </a:prstGeom>
        </p:spPr>
      </p:pic>
      <p:grpSp>
        <p:nvGrpSpPr>
          <p:cNvPr id="257" name="Group 209"/>
          <p:cNvGrpSpPr>
            <a:grpSpLocks noChangeAspect="1"/>
          </p:cNvGrpSpPr>
          <p:nvPr/>
        </p:nvGrpSpPr>
        <p:grpSpPr bwMode="auto">
          <a:xfrm>
            <a:off x="425104" y="3624747"/>
            <a:ext cx="1111383" cy="707244"/>
            <a:chOff x="97" y="2164"/>
            <a:chExt cx="792" cy="504"/>
          </a:xfrm>
        </p:grpSpPr>
        <p:sp>
          <p:nvSpPr>
            <p:cNvPr id="258" name="AutoShape 208"/>
            <p:cNvSpPr>
              <a:spLocks noChangeAspect="1" noChangeArrowheads="1" noTextEdit="1"/>
            </p:cNvSpPr>
            <p:nvPr/>
          </p:nvSpPr>
          <p:spPr bwMode="auto">
            <a:xfrm>
              <a:off x="97" y="2164"/>
              <a:ext cx="792" cy="5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9" name="Freeform 210"/>
            <p:cNvSpPr>
              <a:spLocks/>
            </p:cNvSpPr>
            <p:nvPr/>
          </p:nvSpPr>
          <p:spPr bwMode="auto">
            <a:xfrm>
              <a:off x="226" y="2268"/>
              <a:ext cx="540" cy="382"/>
            </a:xfrm>
            <a:custGeom>
              <a:avLst/>
              <a:gdLst/>
              <a:ahLst/>
              <a:cxnLst>
                <a:cxn ang="0">
                  <a:pos x="75" y="0"/>
                </a:cxn>
                <a:cxn ang="0">
                  <a:pos x="2263" y="0"/>
                </a:cxn>
                <a:cxn ang="0">
                  <a:pos x="2338" y="75"/>
                </a:cxn>
                <a:cxn ang="0">
                  <a:pos x="2338" y="1563"/>
                </a:cxn>
                <a:cxn ang="0">
                  <a:pos x="2263" y="1638"/>
                </a:cxn>
                <a:cxn ang="0">
                  <a:pos x="75" y="1638"/>
                </a:cxn>
                <a:cxn ang="0">
                  <a:pos x="0" y="1563"/>
                </a:cxn>
                <a:cxn ang="0">
                  <a:pos x="0" y="75"/>
                </a:cxn>
                <a:cxn ang="0">
                  <a:pos x="75" y="0"/>
                </a:cxn>
              </a:cxnLst>
              <a:rect l="0" t="0" r="r" b="b"/>
              <a:pathLst>
                <a:path w="2338" h="1638">
                  <a:moveTo>
                    <a:pt x="75" y="0"/>
                  </a:moveTo>
                  <a:lnTo>
                    <a:pt x="2263" y="0"/>
                  </a:lnTo>
                  <a:cubicBezTo>
                    <a:pt x="2305" y="0"/>
                    <a:pt x="2338" y="34"/>
                    <a:pt x="2338" y="75"/>
                  </a:cubicBezTo>
                  <a:lnTo>
                    <a:pt x="2338" y="1563"/>
                  </a:lnTo>
                  <a:cubicBezTo>
                    <a:pt x="2338" y="1604"/>
                    <a:pt x="2305" y="1638"/>
                    <a:pt x="2263" y="1638"/>
                  </a:cubicBezTo>
                  <a:lnTo>
                    <a:pt x="75" y="1638"/>
                  </a:lnTo>
                  <a:cubicBezTo>
                    <a:pt x="34" y="1638"/>
                    <a:pt x="0" y="1604"/>
                    <a:pt x="0" y="1563"/>
                  </a:cubicBezTo>
                  <a:lnTo>
                    <a:pt x="0" y="75"/>
                  </a:lnTo>
                  <a:cubicBezTo>
                    <a:pt x="0" y="34"/>
                    <a:pt x="34" y="0"/>
                    <a:pt x="75" y="0"/>
                  </a:cubicBez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0" name="Freeform 211"/>
            <p:cNvSpPr>
              <a:spLocks/>
            </p:cNvSpPr>
            <p:nvPr/>
          </p:nvSpPr>
          <p:spPr bwMode="auto">
            <a:xfrm>
              <a:off x="226" y="2268"/>
              <a:ext cx="462" cy="382"/>
            </a:xfrm>
            <a:custGeom>
              <a:avLst/>
              <a:gdLst/>
              <a:ahLst/>
              <a:cxnLst>
                <a:cxn ang="0">
                  <a:pos x="75" y="0"/>
                </a:cxn>
                <a:cxn ang="0">
                  <a:pos x="1999" y="0"/>
                </a:cxn>
                <a:cxn ang="0">
                  <a:pos x="361" y="1638"/>
                </a:cxn>
                <a:cxn ang="0">
                  <a:pos x="75" y="1638"/>
                </a:cxn>
                <a:cxn ang="0">
                  <a:pos x="0" y="1563"/>
                </a:cxn>
                <a:cxn ang="0">
                  <a:pos x="0" y="75"/>
                </a:cxn>
                <a:cxn ang="0">
                  <a:pos x="75" y="0"/>
                </a:cxn>
              </a:cxnLst>
              <a:rect l="0" t="0" r="r" b="b"/>
              <a:pathLst>
                <a:path w="1999" h="1638">
                  <a:moveTo>
                    <a:pt x="75" y="0"/>
                  </a:moveTo>
                  <a:lnTo>
                    <a:pt x="1999" y="0"/>
                  </a:lnTo>
                  <a:lnTo>
                    <a:pt x="361" y="1638"/>
                  </a:lnTo>
                  <a:lnTo>
                    <a:pt x="75" y="1638"/>
                  </a:lnTo>
                  <a:cubicBezTo>
                    <a:pt x="34" y="1638"/>
                    <a:pt x="0" y="1604"/>
                    <a:pt x="0" y="1563"/>
                  </a:cubicBezTo>
                  <a:lnTo>
                    <a:pt x="0" y="75"/>
                  </a:lnTo>
                  <a:cubicBezTo>
                    <a:pt x="0" y="34"/>
                    <a:pt x="34" y="0"/>
                    <a:pt x="75" y="0"/>
                  </a:cubicBezTo>
                  <a:close/>
                </a:path>
              </a:pathLst>
            </a:custGeom>
            <a:solidFill>
              <a:srgbClr val="051F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1" name="Rectangle 212"/>
            <p:cNvSpPr>
              <a:spLocks noChangeArrowheads="1"/>
            </p:cNvSpPr>
            <p:nvPr/>
          </p:nvSpPr>
          <p:spPr bwMode="auto">
            <a:xfrm>
              <a:off x="252" y="2296"/>
              <a:ext cx="489" cy="329"/>
            </a:xfrm>
            <a:prstGeom prst="rect">
              <a:avLst/>
            </a:prstGeom>
            <a:solidFill>
              <a:srgbClr val="00ADB4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2" name="Freeform 213"/>
            <p:cNvSpPr>
              <a:spLocks/>
            </p:cNvSpPr>
            <p:nvPr/>
          </p:nvSpPr>
          <p:spPr bwMode="auto">
            <a:xfrm>
              <a:off x="130" y="2657"/>
              <a:ext cx="735" cy="15"/>
            </a:xfrm>
            <a:custGeom>
              <a:avLst/>
              <a:gdLst/>
              <a:ahLst/>
              <a:cxnLst>
                <a:cxn ang="0">
                  <a:pos x="1592" y="65"/>
                </a:cxn>
                <a:cxn ang="0">
                  <a:pos x="121" y="65"/>
                </a:cxn>
                <a:cxn ang="0">
                  <a:pos x="0" y="2"/>
                </a:cxn>
                <a:cxn ang="0">
                  <a:pos x="1592" y="0"/>
                </a:cxn>
                <a:cxn ang="0">
                  <a:pos x="3183" y="2"/>
                </a:cxn>
                <a:cxn ang="0">
                  <a:pos x="3063" y="65"/>
                </a:cxn>
                <a:cxn ang="0">
                  <a:pos x="1592" y="65"/>
                </a:cxn>
              </a:cxnLst>
              <a:rect l="0" t="0" r="r" b="b"/>
              <a:pathLst>
                <a:path w="3183" h="65">
                  <a:moveTo>
                    <a:pt x="1592" y="65"/>
                  </a:moveTo>
                  <a:lnTo>
                    <a:pt x="121" y="65"/>
                  </a:lnTo>
                  <a:cubicBezTo>
                    <a:pt x="62" y="65"/>
                    <a:pt x="22" y="23"/>
                    <a:pt x="0" y="2"/>
                  </a:cubicBezTo>
                  <a:lnTo>
                    <a:pt x="1592" y="0"/>
                  </a:lnTo>
                  <a:lnTo>
                    <a:pt x="3183" y="2"/>
                  </a:lnTo>
                  <a:cubicBezTo>
                    <a:pt x="3161" y="23"/>
                    <a:pt x="3121" y="65"/>
                    <a:pt x="3063" y="65"/>
                  </a:cubicBezTo>
                  <a:lnTo>
                    <a:pt x="1592" y="65"/>
                  </a:lnTo>
                  <a:close/>
                </a:path>
              </a:pathLst>
            </a:custGeom>
            <a:solidFill>
              <a:srgbClr val="354A5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3" name="Freeform 214"/>
            <p:cNvSpPr>
              <a:spLocks/>
            </p:cNvSpPr>
            <p:nvPr/>
          </p:nvSpPr>
          <p:spPr bwMode="auto">
            <a:xfrm>
              <a:off x="125" y="2642"/>
              <a:ext cx="744" cy="1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219" y="0"/>
                </a:cxn>
                <a:cxn ang="0">
                  <a:pos x="3219" y="35"/>
                </a:cxn>
                <a:cxn ang="0">
                  <a:pos x="3185" y="69"/>
                </a:cxn>
                <a:cxn ang="0">
                  <a:pos x="35" y="69"/>
                </a:cxn>
                <a:cxn ang="0">
                  <a:pos x="0" y="35"/>
                </a:cxn>
                <a:cxn ang="0">
                  <a:pos x="0" y="0"/>
                </a:cxn>
              </a:cxnLst>
              <a:rect l="0" t="0" r="r" b="b"/>
              <a:pathLst>
                <a:path w="3219" h="69">
                  <a:moveTo>
                    <a:pt x="0" y="0"/>
                  </a:moveTo>
                  <a:lnTo>
                    <a:pt x="3219" y="0"/>
                  </a:lnTo>
                  <a:lnTo>
                    <a:pt x="3219" y="35"/>
                  </a:lnTo>
                  <a:cubicBezTo>
                    <a:pt x="3219" y="54"/>
                    <a:pt x="3204" y="69"/>
                    <a:pt x="3185" y="69"/>
                  </a:cubicBezTo>
                  <a:lnTo>
                    <a:pt x="35" y="69"/>
                  </a:lnTo>
                  <a:cubicBezTo>
                    <a:pt x="16" y="69"/>
                    <a:pt x="0" y="54"/>
                    <a:pt x="0" y="3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6E0D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4" name="Freeform 215"/>
            <p:cNvSpPr>
              <a:spLocks/>
            </p:cNvSpPr>
            <p:nvPr/>
          </p:nvSpPr>
          <p:spPr bwMode="auto">
            <a:xfrm>
              <a:off x="446" y="2642"/>
              <a:ext cx="103" cy="8"/>
            </a:xfrm>
            <a:custGeom>
              <a:avLst/>
              <a:gdLst/>
              <a:ahLst/>
              <a:cxnLst>
                <a:cxn ang="0">
                  <a:pos x="446" y="0"/>
                </a:cxn>
                <a:cxn ang="0">
                  <a:pos x="435" y="22"/>
                </a:cxn>
                <a:cxn ang="0">
                  <a:pos x="435" y="22"/>
                </a:cxn>
                <a:cxn ang="0">
                  <a:pos x="435" y="22"/>
                </a:cxn>
                <a:cxn ang="0">
                  <a:pos x="410" y="32"/>
                </a:cxn>
                <a:cxn ang="0">
                  <a:pos x="36" y="32"/>
                </a:cxn>
                <a:cxn ang="0">
                  <a:pos x="11" y="22"/>
                </a:cxn>
                <a:cxn ang="0">
                  <a:pos x="11" y="22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17" y="15"/>
                </a:cxn>
                <a:cxn ang="0">
                  <a:pos x="17" y="15"/>
                </a:cxn>
                <a:cxn ang="0">
                  <a:pos x="36" y="23"/>
                </a:cxn>
                <a:cxn ang="0">
                  <a:pos x="410" y="23"/>
                </a:cxn>
                <a:cxn ang="0">
                  <a:pos x="429" y="16"/>
                </a:cxn>
                <a:cxn ang="0">
                  <a:pos x="429" y="16"/>
                </a:cxn>
                <a:cxn ang="0">
                  <a:pos x="429" y="15"/>
                </a:cxn>
                <a:cxn ang="0">
                  <a:pos x="437" y="0"/>
                </a:cxn>
                <a:cxn ang="0">
                  <a:pos x="446" y="0"/>
                </a:cxn>
              </a:cxnLst>
              <a:rect l="0" t="0" r="r" b="b"/>
              <a:pathLst>
                <a:path w="446" h="32">
                  <a:moveTo>
                    <a:pt x="446" y="0"/>
                  </a:moveTo>
                  <a:cubicBezTo>
                    <a:pt x="445" y="9"/>
                    <a:pt x="441" y="16"/>
                    <a:pt x="435" y="22"/>
                  </a:cubicBezTo>
                  <a:lnTo>
                    <a:pt x="435" y="22"/>
                  </a:lnTo>
                  <a:lnTo>
                    <a:pt x="435" y="22"/>
                  </a:lnTo>
                  <a:cubicBezTo>
                    <a:pt x="428" y="28"/>
                    <a:pt x="419" y="32"/>
                    <a:pt x="410" y="32"/>
                  </a:cubicBezTo>
                  <a:lnTo>
                    <a:pt x="36" y="32"/>
                  </a:lnTo>
                  <a:cubicBezTo>
                    <a:pt x="26" y="32"/>
                    <a:pt x="17" y="28"/>
                    <a:pt x="11" y="22"/>
                  </a:cubicBezTo>
                  <a:lnTo>
                    <a:pt x="11" y="22"/>
                  </a:lnTo>
                  <a:cubicBezTo>
                    <a:pt x="5" y="16"/>
                    <a:pt x="1" y="9"/>
                    <a:pt x="0" y="0"/>
                  </a:cubicBezTo>
                  <a:lnTo>
                    <a:pt x="9" y="0"/>
                  </a:lnTo>
                  <a:cubicBezTo>
                    <a:pt x="10" y="6"/>
                    <a:pt x="13" y="11"/>
                    <a:pt x="17" y="15"/>
                  </a:cubicBezTo>
                  <a:lnTo>
                    <a:pt x="17" y="15"/>
                  </a:lnTo>
                  <a:cubicBezTo>
                    <a:pt x="22" y="20"/>
                    <a:pt x="29" y="23"/>
                    <a:pt x="36" y="23"/>
                  </a:cubicBezTo>
                  <a:lnTo>
                    <a:pt x="410" y="23"/>
                  </a:lnTo>
                  <a:cubicBezTo>
                    <a:pt x="417" y="23"/>
                    <a:pt x="424" y="20"/>
                    <a:pt x="429" y="16"/>
                  </a:cubicBezTo>
                  <a:lnTo>
                    <a:pt x="429" y="16"/>
                  </a:lnTo>
                  <a:lnTo>
                    <a:pt x="429" y="15"/>
                  </a:lnTo>
                  <a:cubicBezTo>
                    <a:pt x="433" y="11"/>
                    <a:pt x="436" y="6"/>
                    <a:pt x="437" y="0"/>
                  </a:cubicBezTo>
                  <a:lnTo>
                    <a:pt x="446" y="0"/>
                  </a:lnTo>
                  <a:close/>
                </a:path>
              </a:pathLst>
            </a:custGeom>
            <a:solidFill>
              <a:srgbClr val="89A0A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5" name="Freeform 216"/>
            <p:cNvSpPr>
              <a:spLocks/>
            </p:cNvSpPr>
            <p:nvPr/>
          </p:nvSpPr>
          <p:spPr bwMode="auto">
            <a:xfrm>
              <a:off x="252" y="2296"/>
              <a:ext cx="409" cy="329"/>
            </a:xfrm>
            <a:custGeom>
              <a:avLst/>
              <a:gdLst/>
              <a:ahLst/>
              <a:cxnLst>
                <a:cxn ang="0">
                  <a:pos x="0" y="1415"/>
                </a:cxn>
                <a:cxn ang="0">
                  <a:pos x="357" y="1415"/>
                </a:cxn>
                <a:cxn ang="0">
                  <a:pos x="1772" y="0"/>
                </a:cxn>
                <a:cxn ang="0">
                  <a:pos x="0" y="0"/>
                </a:cxn>
                <a:cxn ang="0">
                  <a:pos x="0" y="1415"/>
                </a:cxn>
              </a:cxnLst>
              <a:rect l="0" t="0" r="r" b="b"/>
              <a:pathLst>
                <a:path w="1772" h="1415">
                  <a:moveTo>
                    <a:pt x="0" y="1415"/>
                  </a:moveTo>
                  <a:lnTo>
                    <a:pt x="357" y="1415"/>
                  </a:lnTo>
                  <a:lnTo>
                    <a:pt x="1772" y="0"/>
                  </a:lnTo>
                  <a:lnTo>
                    <a:pt x="0" y="0"/>
                  </a:lnTo>
                  <a:lnTo>
                    <a:pt x="0" y="1415"/>
                  </a:lnTo>
                  <a:close/>
                </a:path>
              </a:pathLst>
            </a:custGeom>
            <a:solidFill>
              <a:srgbClr val="27D3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6" name="Freeform 217"/>
            <p:cNvSpPr>
              <a:spLocks/>
            </p:cNvSpPr>
            <p:nvPr/>
          </p:nvSpPr>
          <p:spPr bwMode="auto">
            <a:xfrm>
              <a:off x="303" y="2164"/>
              <a:ext cx="387" cy="461"/>
            </a:xfrm>
            <a:custGeom>
              <a:avLst/>
              <a:gdLst/>
              <a:ahLst/>
              <a:cxnLst>
                <a:cxn ang="0">
                  <a:pos x="0" y="1980"/>
                </a:cxn>
                <a:cxn ang="0">
                  <a:pos x="1678" y="1980"/>
                </a:cxn>
                <a:cxn ang="0">
                  <a:pos x="1678" y="37"/>
                </a:cxn>
                <a:cxn ang="0">
                  <a:pos x="1641" y="0"/>
                </a:cxn>
                <a:cxn ang="0">
                  <a:pos x="37" y="0"/>
                </a:cxn>
                <a:cxn ang="0">
                  <a:pos x="0" y="37"/>
                </a:cxn>
                <a:cxn ang="0">
                  <a:pos x="0" y="1980"/>
                </a:cxn>
              </a:cxnLst>
              <a:rect l="0" t="0" r="r" b="b"/>
              <a:pathLst>
                <a:path w="1678" h="1980">
                  <a:moveTo>
                    <a:pt x="0" y="1980"/>
                  </a:moveTo>
                  <a:lnTo>
                    <a:pt x="1678" y="1980"/>
                  </a:lnTo>
                  <a:lnTo>
                    <a:pt x="1678" y="37"/>
                  </a:lnTo>
                  <a:cubicBezTo>
                    <a:pt x="1678" y="17"/>
                    <a:pt x="1662" y="0"/>
                    <a:pt x="1641" y="0"/>
                  </a:cubicBezTo>
                  <a:lnTo>
                    <a:pt x="37" y="0"/>
                  </a:lnTo>
                  <a:cubicBezTo>
                    <a:pt x="17" y="0"/>
                    <a:pt x="0" y="17"/>
                    <a:pt x="0" y="37"/>
                  </a:cubicBezTo>
                  <a:lnTo>
                    <a:pt x="0" y="1980"/>
                  </a:lnTo>
                  <a:close/>
                </a:path>
              </a:pathLst>
            </a:custGeom>
            <a:solidFill>
              <a:srgbClr val="D9E8E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7" name="Freeform 218"/>
            <p:cNvSpPr>
              <a:spLocks/>
            </p:cNvSpPr>
            <p:nvPr/>
          </p:nvSpPr>
          <p:spPr bwMode="auto">
            <a:xfrm>
              <a:off x="303" y="2164"/>
              <a:ext cx="387" cy="30"/>
            </a:xfrm>
            <a:custGeom>
              <a:avLst/>
              <a:gdLst/>
              <a:ahLst/>
              <a:cxnLst>
                <a:cxn ang="0">
                  <a:pos x="1678" y="128"/>
                </a:cxn>
                <a:cxn ang="0">
                  <a:pos x="1678" y="37"/>
                </a:cxn>
                <a:cxn ang="0">
                  <a:pos x="1641" y="0"/>
                </a:cxn>
                <a:cxn ang="0">
                  <a:pos x="37" y="0"/>
                </a:cxn>
                <a:cxn ang="0">
                  <a:pos x="0" y="37"/>
                </a:cxn>
                <a:cxn ang="0">
                  <a:pos x="0" y="128"/>
                </a:cxn>
                <a:cxn ang="0">
                  <a:pos x="1678" y="128"/>
                </a:cxn>
              </a:cxnLst>
              <a:rect l="0" t="0" r="r" b="b"/>
              <a:pathLst>
                <a:path w="1678" h="128">
                  <a:moveTo>
                    <a:pt x="1678" y="128"/>
                  </a:moveTo>
                  <a:lnTo>
                    <a:pt x="1678" y="37"/>
                  </a:lnTo>
                  <a:cubicBezTo>
                    <a:pt x="1678" y="17"/>
                    <a:pt x="1662" y="0"/>
                    <a:pt x="1641" y="0"/>
                  </a:cubicBezTo>
                  <a:lnTo>
                    <a:pt x="37" y="0"/>
                  </a:lnTo>
                  <a:cubicBezTo>
                    <a:pt x="17" y="0"/>
                    <a:pt x="0" y="17"/>
                    <a:pt x="0" y="37"/>
                  </a:cubicBezTo>
                  <a:lnTo>
                    <a:pt x="0" y="128"/>
                  </a:lnTo>
                  <a:lnTo>
                    <a:pt x="1678" y="128"/>
                  </a:lnTo>
                  <a:close/>
                </a:path>
              </a:pathLst>
            </a:custGeom>
            <a:solidFill>
              <a:srgbClr val="43505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8" name="Freeform 219"/>
            <p:cNvSpPr>
              <a:spLocks/>
            </p:cNvSpPr>
            <p:nvPr/>
          </p:nvSpPr>
          <p:spPr bwMode="auto">
            <a:xfrm>
              <a:off x="268" y="2295"/>
              <a:ext cx="35" cy="330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0" y="0"/>
                </a:cxn>
                <a:cxn ang="0">
                  <a:pos x="148" y="1416"/>
                </a:cxn>
                <a:cxn ang="0">
                  <a:pos x="148" y="0"/>
                </a:cxn>
              </a:cxnLst>
              <a:rect l="0" t="0" r="r" b="b"/>
              <a:pathLst>
                <a:path w="148" h="1416">
                  <a:moveTo>
                    <a:pt x="148" y="0"/>
                  </a:moveTo>
                  <a:lnTo>
                    <a:pt x="0" y="0"/>
                  </a:lnTo>
                  <a:lnTo>
                    <a:pt x="148" y="1416"/>
                  </a:lnTo>
                  <a:lnTo>
                    <a:pt x="148" y="0"/>
                  </a:lnTo>
                  <a:close/>
                </a:path>
              </a:pathLst>
            </a:custGeom>
            <a:solidFill>
              <a:srgbClr val="00AD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9" name="Freeform 220"/>
            <p:cNvSpPr>
              <a:spLocks/>
            </p:cNvSpPr>
            <p:nvPr/>
          </p:nvSpPr>
          <p:spPr bwMode="auto">
            <a:xfrm>
              <a:off x="690" y="2295"/>
              <a:ext cx="34" cy="33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9" y="0"/>
                </a:cxn>
                <a:cxn ang="0">
                  <a:pos x="0" y="1416"/>
                </a:cxn>
                <a:cxn ang="0">
                  <a:pos x="0" y="0"/>
                </a:cxn>
              </a:cxnLst>
              <a:rect l="0" t="0" r="r" b="b"/>
              <a:pathLst>
                <a:path w="149" h="1416">
                  <a:moveTo>
                    <a:pt x="0" y="0"/>
                  </a:moveTo>
                  <a:lnTo>
                    <a:pt x="149" y="0"/>
                  </a:lnTo>
                  <a:lnTo>
                    <a:pt x="0" y="14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79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0" name="Oval 221"/>
            <p:cNvSpPr>
              <a:spLocks noChangeArrowheads="1"/>
            </p:cNvSpPr>
            <p:nvPr/>
          </p:nvSpPr>
          <p:spPr bwMode="auto">
            <a:xfrm>
              <a:off x="317" y="2175"/>
              <a:ext cx="8" cy="8"/>
            </a:xfrm>
            <a:prstGeom prst="ellipse">
              <a:avLst/>
            </a:prstGeom>
            <a:solidFill>
              <a:srgbClr val="EF753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1" name="Oval 222"/>
            <p:cNvSpPr>
              <a:spLocks noChangeArrowheads="1"/>
            </p:cNvSpPr>
            <p:nvPr/>
          </p:nvSpPr>
          <p:spPr bwMode="auto">
            <a:xfrm>
              <a:off x="333" y="2175"/>
              <a:ext cx="8" cy="8"/>
            </a:xfrm>
            <a:prstGeom prst="ellipse">
              <a:avLst/>
            </a:prstGeom>
            <a:solidFill>
              <a:srgbClr val="00AD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2" name="Oval 223"/>
            <p:cNvSpPr>
              <a:spLocks noChangeArrowheads="1"/>
            </p:cNvSpPr>
            <p:nvPr/>
          </p:nvSpPr>
          <p:spPr bwMode="auto">
            <a:xfrm>
              <a:off x="350" y="2175"/>
              <a:ext cx="8" cy="8"/>
            </a:xfrm>
            <a:prstGeom prst="ellipse">
              <a:avLst/>
            </a:prstGeom>
            <a:solidFill>
              <a:srgbClr val="92AC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3" name="Rectangle 224"/>
            <p:cNvSpPr>
              <a:spLocks noChangeArrowheads="1"/>
            </p:cNvSpPr>
            <p:nvPr/>
          </p:nvSpPr>
          <p:spPr bwMode="auto">
            <a:xfrm>
              <a:off x="375" y="2173"/>
              <a:ext cx="297" cy="1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4" name="Rectangle 225"/>
            <p:cNvSpPr>
              <a:spLocks noChangeArrowheads="1"/>
            </p:cNvSpPr>
            <p:nvPr/>
          </p:nvSpPr>
          <p:spPr bwMode="auto">
            <a:xfrm>
              <a:off x="352" y="2566"/>
              <a:ext cx="289" cy="4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5" name="Rectangle 226"/>
            <p:cNvSpPr>
              <a:spLocks noChangeArrowheads="1"/>
            </p:cNvSpPr>
            <p:nvPr/>
          </p:nvSpPr>
          <p:spPr bwMode="auto">
            <a:xfrm>
              <a:off x="352" y="2540"/>
              <a:ext cx="289" cy="4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6" name="Rectangle 227"/>
            <p:cNvSpPr>
              <a:spLocks noChangeArrowheads="1"/>
            </p:cNvSpPr>
            <p:nvPr/>
          </p:nvSpPr>
          <p:spPr bwMode="auto">
            <a:xfrm>
              <a:off x="352" y="2515"/>
              <a:ext cx="289" cy="3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7" name="Rectangle 228"/>
            <p:cNvSpPr>
              <a:spLocks noChangeArrowheads="1"/>
            </p:cNvSpPr>
            <p:nvPr/>
          </p:nvSpPr>
          <p:spPr bwMode="auto">
            <a:xfrm>
              <a:off x="352" y="2489"/>
              <a:ext cx="289" cy="4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8" name="Rectangle 229"/>
            <p:cNvSpPr>
              <a:spLocks noChangeArrowheads="1"/>
            </p:cNvSpPr>
            <p:nvPr/>
          </p:nvSpPr>
          <p:spPr bwMode="auto">
            <a:xfrm>
              <a:off x="352" y="2250"/>
              <a:ext cx="289" cy="4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9" name="Rectangle 230"/>
            <p:cNvSpPr>
              <a:spLocks noChangeArrowheads="1"/>
            </p:cNvSpPr>
            <p:nvPr/>
          </p:nvSpPr>
          <p:spPr bwMode="auto">
            <a:xfrm>
              <a:off x="352" y="2218"/>
              <a:ext cx="289" cy="17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0" name="Freeform 231"/>
            <p:cNvSpPr>
              <a:spLocks/>
            </p:cNvSpPr>
            <p:nvPr/>
          </p:nvSpPr>
          <p:spPr bwMode="auto">
            <a:xfrm>
              <a:off x="564" y="2280"/>
              <a:ext cx="36" cy="66"/>
            </a:xfrm>
            <a:custGeom>
              <a:avLst/>
              <a:gdLst/>
              <a:ahLst/>
              <a:cxnLst>
                <a:cxn ang="0">
                  <a:pos x="52" y="285"/>
                </a:cxn>
                <a:cxn ang="0">
                  <a:pos x="0" y="165"/>
                </a:cxn>
                <a:cxn ang="0">
                  <a:pos x="154" y="0"/>
                </a:cxn>
                <a:cxn ang="0">
                  <a:pos x="154" y="74"/>
                </a:cxn>
                <a:cxn ang="0">
                  <a:pos x="73" y="165"/>
                </a:cxn>
                <a:cxn ang="0">
                  <a:pos x="99" y="228"/>
                </a:cxn>
                <a:cxn ang="0">
                  <a:pos x="52" y="285"/>
                </a:cxn>
              </a:cxnLst>
              <a:rect l="0" t="0" r="r" b="b"/>
              <a:pathLst>
                <a:path w="154" h="285">
                  <a:moveTo>
                    <a:pt x="52" y="285"/>
                  </a:moveTo>
                  <a:cubicBezTo>
                    <a:pt x="20" y="255"/>
                    <a:pt x="0" y="212"/>
                    <a:pt x="0" y="165"/>
                  </a:cubicBezTo>
                  <a:cubicBezTo>
                    <a:pt x="0" y="77"/>
                    <a:pt x="68" y="6"/>
                    <a:pt x="154" y="0"/>
                  </a:cubicBezTo>
                  <a:lnTo>
                    <a:pt x="154" y="74"/>
                  </a:lnTo>
                  <a:cubicBezTo>
                    <a:pt x="109" y="79"/>
                    <a:pt x="73" y="118"/>
                    <a:pt x="73" y="165"/>
                  </a:cubicBezTo>
                  <a:cubicBezTo>
                    <a:pt x="73" y="189"/>
                    <a:pt x="83" y="212"/>
                    <a:pt x="99" y="228"/>
                  </a:cubicBezTo>
                  <a:lnTo>
                    <a:pt x="52" y="285"/>
                  </a:lnTo>
                  <a:close/>
                </a:path>
              </a:pathLst>
            </a:custGeom>
            <a:solidFill>
              <a:srgbClr val="6C87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1" name="Freeform 232"/>
            <p:cNvSpPr>
              <a:spLocks/>
            </p:cNvSpPr>
            <p:nvPr/>
          </p:nvSpPr>
          <p:spPr bwMode="auto">
            <a:xfrm>
              <a:off x="609" y="2313"/>
              <a:ext cx="32" cy="43"/>
            </a:xfrm>
            <a:custGeom>
              <a:avLst/>
              <a:gdLst/>
              <a:ahLst/>
              <a:cxnLst>
                <a:cxn ang="0">
                  <a:pos x="136" y="0"/>
                </a:cxn>
                <a:cxn ang="0">
                  <a:pos x="138" y="24"/>
                </a:cxn>
                <a:cxn ang="0">
                  <a:pos x="13" y="184"/>
                </a:cxn>
                <a:cxn ang="0">
                  <a:pos x="0" y="111"/>
                </a:cxn>
                <a:cxn ang="0">
                  <a:pos x="65" y="24"/>
                </a:cxn>
                <a:cxn ang="0">
                  <a:pos x="64" y="15"/>
                </a:cxn>
                <a:cxn ang="0">
                  <a:pos x="136" y="0"/>
                </a:cxn>
              </a:cxnLst>
              <a:rect l="0" t="0" r="r" b="b"/>
              <a:pathLst>
                <a:path w="138" h="184">
                  <a:moveTo>
                    <a:pt x="136" y="0"/>
                  </a:moveTo>
                  <a:cubicBezTo>
                    <a:pt x="137" y="8"/>
                    <a:pt x="138" y="16"/>
                    <a:pt x="138" y="24"/>
                  </a:cubicBezTo>
                  <a:cubicBezTo>
                    <a:pt x="138" y="101"/>
                    <a:pt x="84" y="166"/>
                    <a:pt x="13" y="184"/>
                  </a:cubicBezTo>
                  <a:lnTo>
                    <a:pt x="0" y="111"/>
                  </a:lnTo>
                  <a:cubicBezTo>
                    <a:pt x="37" y="100"/>
                    <a:pt x="65" y="65"/>
                    <a:pt x="65" y="24"/>
                  </a:cubicBezTo>
                  <a:cubicBezTo>
                    <a:pt x="65" y="21"/>
                    <a:pt x="65" y="18"/>
                    <a:pt x="64" y="15"/>
                  </a:cubicBezTo>
                  <a:lnTo>
                    <a:pt x="136" y="0"/>
                  </a:lnTo>
                  <a:close/>
                </a:path>
              </a:pathLst>
            </a:custGeom>
            <a:solidFill>
              <a:srgbClr val="30394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2" name="Freeform 233"/>
            <p:cNvSpPr>
              <a:spLocks/>
            </p:cNvSpPr>
            <p:nvPr/>
          </p:nvSpPr>
          <p:spPr bwMode="auto">
            <a:xfrm>
              <a:off x="580" y="2336"/>
              <a:ext cx="27" cy="21"/>
            </a:xfrm>
            <a:custGeom>
              <a:avLst/>
              <a:gdLst/>
              <a:ahLst/>
              <a:cxnLst>
                <a:cxn ang="0">
                  <a:pos x="114" y="86"/>
                </a:cxn>
                <a:cxn ang="0">
                  <a:pos x="96" y="87"/>
                </a:cxn>
                <a:cxn ang="0">
                  <a:pos x="0" y="57"/>
                </a:cxn>
                <a:cxn ang="0">
                  <a:pos x="47" y="0"/>
                </a:cxn>
                <a:cxn ang="0">
                  <a:pos x="96" y="14"/>
                </a:cxn>
                <a:cxn ang="0">
                  <a:pos x="101" y="14"/>
                </a:cxn>
                <a:cxn ang="0">
                  <a:pos x="114" y="86"/>
                </a:cxn>
              </a:cxnLst>
              <a:rect l="0" t="0" r="r" b="b"/>
              <a:pathLst>
                <a:path w="114" h="87">
                  <a:moveTo>
                    <a:pt x="114" y="86"/>
                  </a:moveTo>
                  <a:cubicBezTo>
                    <a:pt x="108" y="87"/>
                    <a:pt x="102" y="87"/>
                    <a:pt x="96" y="87"/>
                  </a:cubicBezTo>
                  <a:cubicBezTo>
                    <a:pt x="60" y="87"/>
                    <a:pt x="27" y="76"/>
                    <a:pt x="0" y="57"/>
                  </a:cubicBezTo>
                  <a:lnTo>
                    <a:pt x="47" y="0"/>
                  </a:lnTo>
                  <a:cubicBezTo>
                    <a:pt x="61" y="9"/>
                    <a:pt x="78" y="14"/>
                    <a:pt x="96" y="14"/>
                  </a:cubicBezTo>
                  <a:cubicBezTo>
                    <a:pt x="98" y="14"/>
                    <a:pt x="99" y="14"/>
                    <a:pt x="101" y="14"/>
                  </a:cubicBezTo>
                  <a:lnTo>
                    <a:pt x="114" y="86"/>
                  </a:lnTo>
                  <a:close/>
                </a:path>
              </a:pathLst>
            </a:custGeom>
            <a:solidFill>
              <a:srgbClr val="2184A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3" name="Freeform 234"/>
            <p:cNvSpPr>
              <a:spLocks/>
            </p:cNvSpPr>
            <p:nvPr/>
          </p:nvSpPr>
          <p:spPr bwMode="auto">
            <a:xfrm>
              <a:off x="605" y="2280"/>
              <a:ext cx="34" cy="31"/>
            </a:xfrm>
            <a:custGeom>
              <a:avLst/>
              <a:gdLst/>
              <a:ahLst/>
              <a:cxnLst>
                <a:cxn ang="0">
                  <a:pos x="0" y="74"/>
                </a:cxn>
                <a:cxn ang="0">
                  <a:pos x="76" y="135"/>
                </a:cxn>
                <a:cxn ang="0">
                  <a:pos x="147" y="119"/>
                </a:cxn>
                <a:cxn ang="0">
                  <a:pos x="0" y="0"/>
                </a:cxn>
                <a:cxn ang="0">
                  <a:pos x="0" y="74"/>
                </a:cxn>
              </a:cxnLst>
              <a:rect l="0" t="0" r="r" b="b"/>
              <a:pathLst>
                <a:path w="147" h="135">
                  <a:moveTo>
                    <a:pt x="0" y="74"/>
                  </a:moveTo>
                  <a:cubicBezTo>
                    <a:pt x="35" y="78"/>
                    <a:pt x="64" y="102"/>
                    <a:pt x="76" y="135"/>
                  </a:cubicBezTo>
                  <a:lnTo>
                    <a:pt x="147" y="119"/>
                  </a:lnTo>
                  <a:cubicBezTo>
                    <a:pt x="129" y="54"/>
                    <a:pt x="70" y="5"/>
                    <a:pt x="0" y="0"/>
                  </a:cubicBezTo>
                  <a:lnTo>
                    <a:pt x="0" y="74"/>
                  </a:lnTo>
                  <a:close/>
                </a:path>
              </a:pathLst>
            </a:custGeom>
            <a:solidFill>
              <a:srgbClr val="27D3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4" name="Freeform 235"/>
            <p:cNvSpPr>
              <a:spLocks/>
            </p:cNvSpPr>
            <p:nvPr/>
          </p:nvSpPr>
          <p:spPr bwMode="auto">
            <a:xfrm>
              <a:off x="566" y="2382"/>
              <a:ext cx="35" cy="67"/>
            </a:xfrm>
            <a:custGeom>
              <a:avLst/>
              <a:gdLst/>
              <a:ahLst/>
              <a:cxnLst>
                <a:cxn ang="0">
                  <a:pos x="52" y="284"/>
                </a:cxn>
                <a:cxn ang="0">
                  <a:pos x="0" y="164"/>
                </a:cxn>
                <a:cxn ang="0">
                  <a:pos x="154" y="0"/>
                </a:cxn>
                <a:cxn ang="0">
                  <a:pos x="154" y="73"/>
                </a:cxn>
                <a:cxn ang="0">
                  <a:pos x="73" y="164"/>
                </a:cxn>
                <a:cxn ang="0">
                  <a:pos x="98" y="227"/>
                </a:cxn>
                <a:cxn ang="0">
                  <a:pos x="52" y="284"/>
                </a:cxn>
              </a:cxnLst>
              <a:rect l="0" t="0" r="r" b="b"/>
              <a:pathLst>
                <a:path w="154" h="284">
                  <a:moveTo>
                    <a:pt x="52" y="284"/>
                  </a:moveTo>
                  <a:cubicBezTo>
                    <a:pt x="20" y="254"/>
                    <a:pt x="0" y="211"/>
                    <a:pt x="0" y="164"/>
                  </a:cubicBezTo>
                  <a:cubicBezTo>
                    <a:pt x="0" y="77"/>
                    <a:pt x="68" y="5"/>
                    <a:pt x="154" y="0"/>
                  </a:cubicBezTo>
                  <a:lnTo>
                    <a:pt x="154" y="73"/>
                  </a:lnTo>
                  <a:cubicBezTo>
                    <a:pt x="108" y="78"/>
                    <a:pt x="73" y="117"/>
                    <a:pt x="73" y="164"/>
                  </a:cubicBezTo>
                  <a:cubicBezTo>
                    <a:pt x="73" y="189"/>
                    <a:pt x="82" y="211"/>
                    <a:pt x="98" y="227"/>
                  </a:cubicBezTo>
                  <a:lnTo>
                    <a:pt x="52" y="284"/>
                  </a:lnTo>
                  <a:close/>
                </a:path>
              </a:pathLst>
            </a:custGeom>
            <a:solidFill>
              <a:srgbClr val="69848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5" name="Freeform 236"/>
            <p:cNvSpPr>
              <a:spLocks/>
            </p:cNvSpPr>
            <p:nvPr/>
          </p:nvSpPr>
          <p:spPr bwMode="auto">
            <a:xfrm>
              <a:off x="610" y="2415"/>
              <a:ext cx="32" cy="43"/>
            </a:xfrm>
            <a:custGeom>
              <a:avLst/>
              <a:gdLst/>
              <a:ahLst/>
              <a:cxnLst>
                <a:cxn ang="0">
                  <a:pos x="137" y="0"/>
                </a:cxn>
                <a:cxn ang="0">
                  <a:pos x="138" y="24"/>
                </a:cxn>
                <a:cxn ang="0">
                  <a:pos x="13" y="184"/>
                </a:cxn>
                <a:cxn ang="0">
                  <a:pos x="0" y="112"/>
                </a:cxn>
                <a:cxn ang="0">
                  <a:pos x="65" y="24"/>
                </a:cxn>
                <a:cxn ang="0">
                  <a:pos x="65" y="16"/>
                </a:cxn>
                <a:cxn ang="0">
                  <a:pos x="137" y="0"/>
                </a:cxn>
              </a:cxnLst>
              <a:rect l="0" t="0" r="r" b="b"/>
              <a:pathLst>
                <a:path w="138" h="184">
                  <a:moveTo>
                    <a:pt x="137" y="0"/>
                  </a:moveTo>
                  <a:cubicBezTo>
                    <a:pt x="138" y="8"/>
                    <a:pt x="138" y="16"/>
                    <a:pt x="138" y="24"/>
                  </a:cubicBezTo>
                  <a:cubicBezTo>
                    <a:pt x="138" y="101"/>
                    <a:pt x="85" y="166"/>
                    <a:pt x="13" y="184"/>
                  </a:cubicBezTo>
                  <a:lnTo>
                    <a:pt x="0" y="112"/>
                  </a:lnTo>
                  <a:cubicBezTo>
                    <a:pt x="38" y="100"/>
                    <a:pt x="65" y="65"/>
                    <a:pt x="65" y="24"/>
                  </a:cubicBezTo>
                  <a:cubicBezTo>
                    <a:pt x="65" y="21"/>
                    <a:pt x="65" y="18"/>
                    <a:pt x="65" y="16"/>
                  </a:cubicBezTo>
                  <a:lnTo>
                    <a:pt x="137" y="0"/>
                  </a:lnTo>
                  <a:close/>
                </a:path>
              </a:pathLst>
            </a:custGeom>
            <a:solidFill>
              <a:srgbClr val="53676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6" name="Freeform 237"/>
            <p:cNvSpPr>
              <a:spLocks/>
            </p:cNvSpPr>
            <p:nvPr/>
          </p:nvSpPr>
          <p:spPr bwMode="auto">
            <a:xfrm>
              <a:off x="582" y="2439"/>
              <a:ext cx="26" cy="20"/>
            </a:xfrm>
            <a:custGeom>
              <a:avLst/>
              <a:gdLst/>
              <a:ahLst/>
              <a:cxnLst>
                <a:cxn ang="0">
                  <a:pos x="113" y="87"/>
                </a:cxn>
                <a:cxn ang="0">
                  <a:pos x="96" y="88"/>
                </a:cxn>
                <a:cxn ang="0">
                  <a:pos x="0" y="57"/>
                </a:cxn>
                <a:cxn ang="0">
                  <a:pos x="46" y="0"/>
                </a:cxn>
                <a:cxn ang="0">
                  <a:pos x="96" y="15"/>
                </a:cxn>
                <a:cxn ang="0">
                  <a:pos x="101" y="15"/>
                </a:cxn>
                <a:cxn ang="0">
                  <a:pos x="113" y="87"/>
                </a:cxn>
              </a:cxnLst>
              <a:rect l="0" t="0" r="r" b="b"/>
              <a:pathLst>
                <a:path w="113" h="88">
                  <a:moveTo>
                    <a:pt x="113" y="87"/>
                  </a:moveTo>
                  <a:cubicBezTo>
                    <a:pt x="108" y="88"/>
                    <a:pt x="102" y="88"/>
                    <a:pt x="96" y="88"/>
                  </a:cubicBezTo>
                  <a:cubicBezTo>
                    <a:pt x="60" y="88"/>
                    <a:pt x="27" y="76"/>
                    <a:pt x="0" y="57"/>
                  </a:cubicBezTo>
                  <a:lnTo>
                    <a:pt x="46" y="0"/>
                  </a:lnTo>
                  <a:cubicBezTo>
                    <a:pt x="60" y="9"/>
                    <a:pt x="77" y="15"/>
                    <a:pt x="96" y="15"/>
                  </a:cubicBezTo>
                  <a:cubicBezTo>
                    <a:pt x="97" y="15"/>
                    <a:pt x="99" y="15"/>
                    <a:pt x="101" y="15"/>
                  </a:cubicBezTo>
                  <a:lnTo>
                    <a:pt x="113" y="87"/>
                  </a:lnTo>
                  <a:close/>
                </a:path>
              </a:pathLst>
            </a:custGeom>
            <a:solidFill>
              <a:srgbClr val="4D838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7" name="Freeform 238"/>
            <p:cNvSpPr>
              <a:spLocks/>
            </p:cNvSpPr>
            <p:nvPr/>
          </p:nvSpPr>
          <p:spPr bwMode="auto">
            <a:xfrm>
              <a:off x="606" y="2382"/>
              <a:ext cx="34" cy="32"/>
            </a:xfrm>
            <a:custGeom>
              <a:avLst/>
              <a:gdLst/>
              <a:ahLst/>
              <a:cxnLst>
                <a:cxn ang="0">
                  <a:pos x="0" y="73"/>
                </a:cxn>
                <a:cxn ang="0">
                  <a:pos x="76" y="134"/>
                </a:cxn>
                <a:cxn ang="0">
                  <a:pos x="148" y="119"/>
                </a:cxn>
                <a:cxn ang="0">
                  <a:pos x="0" y="0"/>
                </a:cxn>
                <a:cxn ang="0">
                  <a:pos x="0" y="73"/>
                </a:cxn>
              </a:cxnLst>
              <a:rect l="0" t="0" r="r" b="b"/>
              <a:pathLst>
                <a:path w="148" h="134">
                  <a:moveTo>
                    <a:pt x="0" y="73"/>
                  </a:moveTo>
                  <a:cubicBezTo>
                    <a:pt x="36" y="77"/>
                    <a:pt x="65" y="102"/>
                    <a:pt x="76" y="134"/>
                  </a:cubicBezTo>
                  <a:lnTo>
                    <a:pt x="148" y="119"/>
                  </a:lnTo>
                  <a:cubicBezTo>
                    <a:pt x="129" y="53"/>
                    <a:pt x="71" y="4"/>
                    <a:pt x="0" y="0"/>
                  </a:cubicBezTo>
                  <a:lnTo>
                    <a:pt x="0" y="73"/>
                  </a:lnTo>
                  <a:close/>
                </a:path>
              </a:pathLst>
            </a:custGeom>
            <a:solidFill>
              <a:srgbClr val="4FA09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8" name="Rectangle 239"/>
            <p:cNvSpPr>
              <a:spLocks noChangeArrowheads="1"/>
            </p:cNvSpPr>
            <p:nvPr/>
          </p:nvSpPr>
          <p:spPr bwMode="auto">
            <a:xfrm>
              <a:off x="357" y="2355"/>
              <a:ext cx="13" cy="104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9" name="Rectangle 240"/>
            <p:cNvSpPr>
              <a:spLocks noChangeArrowheads="1"/>
            </p:cNvSpPr>
            <p:nvPr/>
          </p:nvSpPr>
          <p:spPr bwMode="auto">
            <a:xfrm>
              <a:off x="382" y="2384"/>
              <a:ext cx="12" cy="75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0" name="Rectangle 241"/>
            <p:cNvSpPr>
              <a:spLocks noChangeArrowheads="1"/>
            </p:cNvSpPr>
            <p:nvPr/>
          </p:nvSpPr>
          <p:spPr bwMode="auto">
            <a:xfrm>
              <a:off x="407" y="2333"/>
              <a:ext cx="12" cy="126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1" name="Rectangle 242"/>
            <p:cNvSpPr>
              <a:spLocks noChangeArrowheads="1"/>
            </p:cNvSpPr>
            <p:nvPr/>
          </p:nvSpPr>
          <p:spPr bwMode="auto">
            <a:xfrm>
              <a:off x="431" y="2355"/>
              <a:ext cx="13" cy="104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2" name="Rectangle 243"/>
            <p:cNvSpPr>
              <a:spLocks noChangeArrowheads="1"/>
            </p:cNvSpPr>
            <p:nvPr/>
          </p:nvSpPr>
          <p:spPr bwMode="auto">
            <a:xfrm>
              <a:off x="456" y="2346"/>
              <a:ext cx="12" cy="113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3" name="Rectangle 244"/>
            <p:cNvSpPr>
              <a:spLocks noChangeArrowheads="1"/>
            </p:cNvSpPr>
            <p:nvPr/>
          </p:nvSpPr>
          <p:spPr bwMode="auto">
            <a:xfrm>
              <a:off x="481" y="2332"/>
              <a:ext cx="12" cy="127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4" name="Rectangle 245"/>
            <p:cNvSpPr>
              <a:spLocks noChangeArrowheads="1"/>
            </p:cNvSpPr>
            <p:nvPr/>
          </p:nvSpPr>
          <p:spPr bwMode="auto">
            <a:xfrm>
              <a:off x="505" y="2280"/>
              <a:ext cx="13" cy="179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5" name="Rectangle 246"/>
            <p:cNvSpPr>
              <a:spLocks noChangeArrowheads="1"/>
            </p:cNvSpPr>
            <p:nvPr/>
          </p:nvSpPr>
          <p:spPr bwMode="auto">
            <a:xfrm>
              <a:off x="530" y="2338"/>
              <a:ext cx="12" cy="121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6" name="Rectangle 247"/>
            <p:cNvSpPr>
              <a:spLocks noChangeArrowheads="1"/>
            </p:cNvSpPr>
            <p:nvPr/>
          </p:nvSpPr>
          <p:spPr bwMode="auto">
            <a:xfrm>
              <a:off x="357" y="2384"/>
              <a:ext cx="13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7" name="Rectangle 248"/>
            <p:cNvSpPr>
              <a:spLocks noChangeArrowheads="1"/>
            </p:cNvSpPr>
            <p:nvPr/>
          </p:nvSpPr>
          <p:spPr bwMode="auto">
            <a:xfrm>
              <a:off x="382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8" name="Rectangle 249"/>
            <p:cNvSpPr>
              <a:spLocks noChangeArrowheads="1"/>
            </p:cNvSpPr>
            <p:nvPr/>
          </p:nvSpPr>
          <p:spPr bwMode="auto">
            <a:xfrm>
              <a:off x="407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9" name="Rectangle 250"/>
            <p:cNvSpPr>
              <a:spLocks noChangeArrowheads="1"/>
            </p:cNvSpPr>
            <p:nvPr/>
          </p:nvSpPr>
          <p:spPr bwMode="auto">
            <a:xfrm>
              <a:off x="431" y="2384"/>
              <a:ext cx="13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0" name="Rectangle 251"/>
            <p:cNvSpPr>
              <a:spLocks noChangeArrowheads="1"/>
            </p:cNvSpPr>
            <p:nvPr/>
          </p:nvSpPr>
          <p:spPr bwMode="auto">
            <a:xfrm>
              <a:off x="456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1" name="Rectangle 252"/>
            <p:cNvSpPr>
              <a:spLocks noChangeArrowheads="1"/>
            </p:cNvSpPr>
            <p:nvPr/>
          </p:nvSpPr>
          <p:spPr bwMode="auto">
            <a:xfrm>
              <a:off x="481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2" name="Rectangle 253"/>
            <p:cNvSpPr>
              <a:spLocks noChangeArrowheads="1"/>
            </p:cNvSpPr>
            <p:nvPr/>
          </p:nvSpPr>
          <p:spPr bwMode="auto">
            <a:xfrm>
              <a:off x="505" y="2384"/>
              <a:ext cx="13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3" name="Rectangle 254"/>
            <p:cNvSpPr>
              <a:spLocks noChangeArrowheads="1"/>
            </p:cNvSpPr>
            <p:nvPr/>
          </p:nvSpPr>
          <p:spPr bwMode="auto">
            <a:xfrm>
              <a:off x="530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4" name="Freeform 255"/>
            <p:cNvSpPr>
              <a:spLocks/>
            </p:cNvSpPr>
            <p:nvPr/>
          </p:nvSpPr>
          <p:spPr bwMode="auto">
            <a:xfrm>
              <a:off x="97" y="2341"/>
              <a:ext cx="274" cy="331"/>
            </a:xfrm>
            <a:custGeom>
              <a:avLst/>
              <a:gdLst/>
              <a:ahLst/>
              <a:cxnLst>
                <a:cxn ang="0">
                  <a:pos x="80" y="0"/>
                </a:cxn>
                <a:cxn ang="0">
                  <a:pos x="1107" y="0"/>
                </a:cxn>
                <a:cxn ang="0">
                  <a:pos x="1187" y="80"/>
                </a:cxn>
                <a:cxn ang="0">
                  <a:pos x="1187" y="1341"/>
                </a:cxn>
                <a:cxn ang="0">
                  <a:pos x="1107" y="1421"/>
                </a:cxn>
                <a:cxn ang="0">
                  <a:pos x="80" y="1421"/>
                </a:cxn>
                <a:cxn ang="0">
                  <a:pos x="0" y="1341"/>
                </a:cxn>
                <a:cxn ang="0">
                  <a:pos x="0" y="80"/>
                </a:cxn>
                <a:cxn ang="0">
                  <a:pos x="80" y="0"/>
                </a:cxn>
              </a:cxnLst>
              <a:rect l="0" t="0" r="r" b="b"/>
              <a:pathLst>
                <a:path w="1187" h="1421">
                  <a:moveTo>
                    <a:pt x="80" y="0"/>
                  </a:moveTo>
                  <a:lnTo>
                    <a:pt x="1107" y="0"/>
                  </a:lnTo>
                  <a:cubicBezTo>
                    <a:pt x="1151" y="0"/>
                    <a:pt x="1187" y="36"/>
                    <a:pt x="1187" y="80"/>
                  </a:cubicBezTo>
                  <a:lnTo>
                    <a:pt x="1187" y="1341"/>
                  </a:lnTo>
                  <a:cubicBezTo>
                    <a:pt x="1187" y="1385"/>
                    <a:pt x="1151" y="1421"/>
                    <a:pt x="1107" y="1421"/>
                  </a:cubicBezTo>
                  <a:lnTo>
                    <a:pt x="80" y="1421"/>
                  </a:lnTo>
                  <a:cubicBezTo>
                    <a:pt x="36" y="1421"/>
                    <a:pt x="0" y="1385"/>
                    <a:pt x="0" y="1341"/>
                  </a:cubicBezTo>
                  <a:lnTo>
                    <a:pt x="0" y="80"/>
                  </a:lnTo>
                  <a:cubicBezTo>
                    <a:pt x="0" y="36"/>
                    <a:pt x="36" y="0"/>
                    <a:pt x="80" y="0"/>
                  </a:cubicBezTo>
                  <a:close/>
                </a:path>
              </a:pathLst>
            </a:custGeom>
            <a:solidFill>
              <a:srgbClr val="30394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5" name="Freeform 256"/>
            <p:cNvSpPr>
              <a:spLocks/>
            </p:cNvSpPr>
            <p:nvPr/>
          </p:nvSpPr>
          <p:spPr bwMode="auto">
            <a:xfrm>
              <a:off x="97" y="2353"/>
              <a:ext cx="274" cy="93"/>
            </a:xfrm>
            <a:custGeom>
              <a:avLst/>
              <a:gdLst/>
              <a:ahLst/>
              <a:cxnLst>
                <a:cxn ang="0">
                  <a:pos x="80" y="0"/>
                </a:cxn>
                <a:cxn ang="0">
                  <a:pos x="1107" y="0"/>
                </a:cxn>
                <a:cxn ang="0">
                  <a:pos x="1187" y="81"/>
                </a:cxn>
                <a:cxn ang="0">
                  <a:pos x="1187" y="399"/>
                </a:cxn>
                <a:cxn ang="0">
                  <a:pos x="0" y="399"/>
                </a:cxn>
                <a:cxn ang="0">
                  <a:pos x="0" y="81"/>
                </a:cxn>
                <a:cxn ang="0">
                  <a:pos x="80" y="0"/>
                </a:cxn>
              </a:cxnLst>
              <a:rect l="0" t="0" r="r" b="b"/>
              <a:pathLst>
                <a:path w="1187" h="399">
                  <a:moveTo>
                    <a:pt x="80" y="0"/>
                  </a:moveTo>
                  <a:lnTo>
                    <a:pt x="1107" y="0"/>
                  </a:lnTo>
                  <a:cubicBezTo>
                    <a:pt x="1151" y="0"/>
                    <a:pt x="1187" y="36"/>
                    <a:pt x="1187" y="81"/>
                  </a:cubicBezTo>
                  <a:lnTo>
                    <a:pt x="1187" y="399"/>
                  </a:lnTo>
                  <a:lnTo>
                    <a:pt x="0" y="399"/>
                  </a:lnTo>
                  <a:lnTo>
                    <a:pt x="0" y="81"/>
                  </a:lnTo>
                  <a:cubicBezTo>
                    <a:pt x="0" y="36"/>
                    <a:pt x="36" y="0"/>
                    <a:pt x="80" y="0"/>
                  </a:cubicBezTo>
                  <a:close/>
                </a:path>
              </a:pathLst>
            </a:custGeom>
            <a:solidFill>
              <a:srgbClr val="7681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6" name="Rectangle 257"/>
            <p:cNvSpPr>
              <a:spLocks noChangeArrowheads="1"/>
            </p:cNvSpPr>
            <p:nvPr/>
          </p:nvSpPr>
          <p:spPr bwMode="auto">
            <a:xfrm>
              <a:off x="122" y="2373"/>
              <a:ext cx="221" cy="58"/>
            </a:xfrm>
            <a:prstGeom prst="rect">
              <a:avLst/>
            </a:prstGeom>
            <a:solidFill>
              <a:srgbClr val="00ADB4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7" name="Rectangle 258"/>
            <p:cNvSpPr>
              <a:spLocks noChangeArrowheads="1"/>
            </p:cNvSpPr>
            <p:nvPr/>
          </p:nvSpPr>
          <p:spPr bwMode="auto">
            <a:xfrm>
              <a:off x="132" y="2381"/>
              <a:ext cx="211" cy="50"/>
            </a:xfrm>
            <a:prstGeom prst="rect">
              <a:avLst/>
            </a:prstGeom>
            <a:solidFill>
              <a:srgbClr val="35EC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8" name="Freeform 259"/>
            <p:cNvSpPr>
              <a:spLocks/>
            </p:cNvSpPr>
            <p:nvPr/>
          </p:nvSpPr>
          <p:spPr bwMode="auto">
            <a:xfrm>
              <a:off x="120" y="2467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9"/>
                </a:cxn>
                <a:cxn ang="0">
                  <a:pos x="214" y="153"/>
                </a:cxn>
                <a:cxn ang="0">
                  <a:pos x="205" y="162"/>
                </a:cxn>
                <a:cxn ang="0">
                  <a:pos x="205" y="162"/>
                </a:cxn>
                <a:cxn ang="0">
                  <a:pos x="9" y="162"/>
                </a:cxn>
                <a:cxn ang="0">
                  <a:pos x="0" y="153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</a:cxnLst>
              <a:rect l="0" t="0" r="r" b="b"/>
              <a:pathLst>
                <a:path w="214" h="162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9"/>
                  </a:lnTo>
                  <a:lnTo>
                    <a:pt x="214" y="153"/>
                  </a:lnTo>
                  <a:cubicBezTo>
                    <a:pt x="214" y="158"/>
                    <a:pt x="210" y="162"/>
                    <a:pt x="205" y="162"/>
                  </a:cubicBezTo>
                  <a:lnTo>
                    <a:pt x="205" y="162"/>
                  </a:lnTo>
                  <a:lnTo>
                    <a:pt x="9" y="162"/>
                  </a:lnTo>
                  <a:cubicBezTo>
                    <a:pt x="4" y="162"/>
                    <a:pt x="0" y="158"/>
                    <a:pt x="0" y="153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</a:path>
              </a:pathLst>
            </a:custGeom>
            <a:solidFill>
              <a:srgbClr val="00AD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9" name="Rectangle 260"/>
            <p:cNvSpPr>
              <a:spLocks noChangeArrowheads="1"/>
            </p:cNvSpPr>
            <p:nvPr/>
          </p:nvSpPr>
          <p:spPr bwMode="auto">
            <a:xfrm>
              <a:off x="122" y="2516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0" name="Freeform 261"/>
            <p:cNvSpPr>
              <a:spLocks noEditPoints="1"/>
            </p:cNvSpPr>
            <p:nvPr/>
          </p:nvSpPr>
          <p:spPr bwMode="auto">
            <a:xfrm>
              <a:off x="120" y="2514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10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10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5"/>
                    <a:pt x="214" y="10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10"/>
                  </a:lnTo>
                  <a:cubicBezTo>
                    <a:pt x="0" y="5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1" name="Rectangle 262"/>
            <p:cNvSpPr>
              <a:spLocks noChangeArrowheads="1"/>
            </p:cNvSpPr>
            <p:nvPr/>
          </p:nvSpPr>
          <p:spPr bwMode="auto">
            <a:xfrm>
              <a:off x="122" y="2563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2" name="Freeform 263"/>
            <p:cNvSpPr>
              <a:spLocks noEditPoints="1"/>
            </p:cNvSpPr>
            <p:nvPr/>
          </p:nvSpPr>
          <p:spPr bwMode="auto">
            <a:xfrm>
              <a:off x="120" y="2561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3" name="Rectangle 264"/>
            <p:cNvSpPr>
              <a:spLocks noChangeArrowheads="1"/>
            </p:cNvSpPr>
            <p:nvPr/>
          </p:nvSpPr>
          <p:spPr bwMode="auto">
            <a:xfrm>
              <a:off x="122" y="2610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4" name="Freeform 265"/>
            <p:cNvSpPr>
              <a:spLocks noEditPoints="1"/>
            </p:cNvSpPr>
            <p:nvPr/>
          </p:nvSpPr>
          <p:spPr bwMode="auto">
            <a:xfrm>
              <a:off x="120" y="2608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8"/>
                </a:cxn>
                <a:cxn ang="0">
                  <a:pos x="18" y="18"/>
                </a:cxn>
                <a:cxn ang="0">
                  <a:pos x="18" y="144"/>
                </a:cxn>
                <a:cxn ang="0">
                  <a:pos x="196" y="144"/>
                </a:cxn>
                <a:cxn ang="0">
                  <a:pos x="196" y="18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8"/>
                  </a:moveTo>
                  <a:lnTo>
                    <a:pt x="18" y="18"/>
                  </a:lnTo>
                  <a:lnTo>
                    <a:pt x="18" y="144"/>
                  </a:lnTo>
                  <a:lnTo>
                    <a:pt x="196" y="144"/>
                  </a:lnTo>
                  <a:lnTo>
                    <a:pt x="196" y="18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5" name="Freeform 266"/>
            <p:cNvSpPr>
              <a:spLocks/>
            </p:cNvSpPr>
            <p:nvPr/>
          </p:nvSpPr>
          <p:spPr bwMode="auto">
            <a:xfrm>
              <a:off x="179" y="2467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9"/>
                </a:cxn>
                <a:cxn ang="0">
                  <a:pos x="214" y="153"/>
                </a:cxn>
                <a:cxn ang="0">
                  <a:pos x="205" y="162"/>
                </a:cxn>
                <a:cxn ang="0">
                  <a:pos x="205" y="162"/>
                </a:cxn>
                <a:cxn ang="0">
                  <a:pos x="9" y="162"/>
                </a:cxn>
                <a:cxn ang="0">
                  <a:pos x="0" y="153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</a:cxnLst>
              <a:rect l="0" t="0" r="r" b="b"/>
              <a:pathLst>
                <a:path w="214" h="162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9"/>
                  </a:lnTo>
                  <a:lnTo>
                    <a:pt x="214" y="153"/>
                  </a:lnTo>
                  <a:cubicBezTo>
                    <a:pt x="214" y="158"/>
                    <a:pt x="210" y="162"/>
                    <a:pt x="205" y="162"/>
                  </a:cubicBezTo>
                  <a:lnTo>
                    <a:pt x="205" y="162"/>
                  </a:lnTo>
                  <a:lnTo>
                    <a:pt x="9" y="162"/>
                  </a:lnTo>
                  <a:cubicBezTo>
                    <a:pt x="4" y="162"/>
                    <a:pt x="0" y="158"/>
                    <a:pt x="0" y="153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</a:path>
              </a:pathLst>
            </a:custGeom>
            <a:solidFill>
              <a:srgbClr val="00AD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6" name="Rectangle 267"/>
            <p:cNvSpPr>
              <a:spLocks noChangeArrowheads="1"/>
            </p:cNvSpPr>
            <p:nvPr/>
          </p:nvSpPr>
          <p:spPr bwMode="auto">
            <a:xfrm>
              <a:off x="181" y="2516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7" name="Freeform 268"/>
            <p:cNvSpPr>
              <a:spLocks noEditPoints="1"/>
            </p:cNvSpPr>
            <p:nvPr/>
          </p:nvSpPr>
          <p:spPr bwMode="auto">
            <a:xfrm>
              <a:off x="179" y="2514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10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10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5"/>
                    <a:pt x="214" y="10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10"/>
                  </a:lnTo>
                  <a:cubicBezTo>
                    <a:pt x="0" y="5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8" name="Rectangle 269"/>
            <p:cNvSpPr>
              <a:spLocks noChangeArrowheads="1"/>
            </p:cNvSpPr>
            <p:nvPr/>
          </p:nvSpPr>
          <p:spPr bwMode="auto">
            <a:xfrm>
              <a:off x="181" y="2563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9" name="Freeform 270"/>
            <p:cNvSpPr>
              <a:spLocks noEditPoints="1"/>
            </p:cNvSpPr>
            <p:nvPr/>
          </p:nvSpPr>
          <p:spPr bwMode="auto">
            <a:xfrm>
              <a:off x="179" y="2561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0" name="Rectangle 271"/>
            <p:cNvSpPr>
              <a:spLocks noChangeArrowheads="1"/>
            </p:cNvSpPr>
            <p:nvPr/>
          </p:nvSpPr>
          <p:spPr bwMode="auto">
            <a:xfrm>
              <a:off x="181" y="2610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1" name="Freeform 272"/>
            <p:cNvSpPr>
              <a:spLocks noEditPoints="1"/>
            </p:cNvSpPr>
            <p:nvPr/>
          </p:nvSpPr>
          <p:spPr bwMode="auto">
            <a:xfrm>
              <a:off x="179" y="2608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8"/>
                </a:cxn>
                <a:cxn ang="0">
                  <a:pos x="18" y="18"/>
                </a:cxn>
                <a:cxn ang="0">
                  <a:pos x="18" y="144"/>
                </a:cxn>
                <a:cxn ang="0">
                  <a:pos x="196" y="144"/>
                </a:cxn>
                <a:cxn ang="0">
                  <a:pos x="196" y="18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8"/>
                  </a:moveTo>
                  <a:lnTo>
                    <a:pt x="18" y="18"/>
                  </a:lnTo>
                  <a:lnTo>
                    <a:pt x="18" y="144"/>
                  </a:lnTo>
                  <a:lnTo>
                    <a:pt x="196" y="144"/>
                  </a:lnTo>
                  <a:lnTo>
                    <a:pt x="196" y="18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2" name="Rectangle 273"/>
            <p:cNvSpPr>
              <a:spLocks noChangeArrowheads="1"/>
            </p:cNvSpPr>
            <p:nvPr/>
          </p:nvSpPr>
          <p:spPr bwMode="auto">
            <a:xfrm>
              <a:off x="239" y="2469"/>
              <a:ext cx="46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3" name="Freeform 274"/>
            <p:cNvSpPr>
              <a:spLocks noEditPoints="1"/>
            </p:cNvSpPr>
            <p:nvPr/>
          </p:nvSpPr>
          <p:spPr bwMode="auto">
            <a:xfrm>
              <a:off x="237" y="2467"/>
              <a:ext cx="50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0" y="0"/>
                </a:cxn>
                <a:cxn ang="0">
                  <a:pos x="206" y="0"/>
                </a:cxn>
                <a:cxn ang="0">
                  <a:pos x="215" y="9"/>
                </a:cxn>
                <a:cxn ang="0">
                  <a:pos x="215" y="9"/>
                </a:cxn>
                <a:cxn ang="0">
                  <a:pos x="215" y="153"/>
                </a:cxn>
                <a:cxn ang="0">
                  <a:pos x="206" y="162"/>
                </a:cxn>
                <a:cxn ang="0">
                  <a:pos x="205" y="162"/>
                </a:cxn>
                <a:cxn ang="0">
                  <a:pos x="9" y="162"/>
                </a:cxn>
                <a:cxn ang="0">
                  <a:pos x="0" y="153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7" y="18"/>
                </a:cxn>
                <a:cxn ang="0">
                  <a:pos x="18" y="18"/>
                </a:cxn>
                <a:cxn ang="0">
                  <a:pos x="18" y="144"/>
                </a:cxn>
                <a:cxn ang="0">
                  <a:pos x="197" y="144"/>
                </a:cxn>
                <a:cxn ang="0">
                  <a:pos x="197" y="18"/>
                </a:cxn>
              </a:cxnLst>
              <a:rect l="0" t="0" r="r" b="b"/>
              <a:pathLst>
                <a:path w="215" h="162">
                  <a:moveTo>
                    <a:pt x="9" y="0"/>
                  </a:moveTo>
                  <a:lnTo>
                    <a:pt x="10" y="0"/>
                  </a:lnTo>
                  <a:lnTo>
                    <a:pt x="206" y="0"/>
                  </a:lnTo>
                  <a:cubicBezTo>
                    <a:pt x="211" y="0"/>
                    <a:pt x="215" y="4"/>
                    <a:pt x="215" y="9"/>
                  </a:cubicBezTo>
                  <a:lnTo>
                    <a:pt x="215" y="9"/>
                  </a:lnTo>
                  <a:lnTo>
                    <a:pt x="215" y="153"/>
                  </a:lnTo>
                  <a:cubicBezTo>
                    <a:pt x="215" y="158"/>
                    <a:pt x="211" y="162"/>
                    <a:pt x="206" y="162"/>
                  </a:cubicBezTo>
                  <a:lnTo>
                    <a:pt x="205" y="162"/>
                  </a:lnTo>
                  <a:lnTo>
                    <a:pt x="9" y="162"/>
                  </a:lnTo>
                  <a:cubicBezTo>
                    <a:pt x="4" y="162"/>
                    <a:pt x="0" y="158"/>
                    <a:pt x="0" y="153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7" y="18"/>
                  </a:moveTo>
                  <a:lnTo>
                    <a:pt x="18" y="18"/>
                  </a:lnTo>
                  <a:lnTo>
                    <a:pt x="18" y="144"/>
                  </a:lnTo>
                  <a:lnTo>
                    <a:pt x="197" y="144"/>
                  </a:lnTo>
                  <a:lnTo>
                    <a:pt x="197" y="18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4" name="Rectangle 275"/>
            <p:cNvSpPr>
              <a:spLocks noChangeArrowheads="1"/>
            </p:cNvSpPr>
            <p:nvPr/>
          </p:nvSpPr>
          <p:spPr bwMode="auto">
            <a:xfrm>
              <a:off x="239" y="2516"/>
              <a:ext cx="46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5" name="Freeform 276"/>
            <p:cNvSpPr>
              <a:spLocks noEditPoints="1"/>
            </p:cNvSpPr>
            <p:nvPr/>
          </p:nvSpPr>
          <p:spPr bwMode="auto">
            <a:xfrm>
              <a:off x="237" y="2514"/>
              <a:ext cx="50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0" y="0"/>
                </a:cxn>
                <a:cxn ang="0">
                  <a:pos x="206" y="0"/>
                </a:cxn>
                <a:cxn ang="0">
                  <a:pos x="215" y="10"/>
                </a:cxn>
                <a:cxn ang="0">
                  <a:pos x="215" y="10"/>
                </a:cxn>
                <a:cxn ang="0">
                  <a:pos x="215" y="154"/>
                </a:cxn>
                <a:cxn ang="0">
                  <a:pos x="206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10"/>
                </a:cxn>
                <a:cxn ang="0">
                  <a:pos x="9" y="0"/>
                </a:cxn>
                <a:cxn ang="0">
                  <a:pos x="197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7" y="145"/>
                </a:cxn>
                <a:cxn ang="0">
                  <a:pos x="197" y="19"/>
                </a:cxn>
              </a:cxnLst>
              <a:rect l="0" t="0" r="r" b="b"/>
              <a:pathLst>
                <a:path w="215" h="163">
                  <a:moveTo>
                    <a:pt x="9" y="0"/>
                  </a:moveTo>
                  <a:lnTo>
                    <a:pt x="10" y="0"/>
                  </a:lnTo>
                  <a:lnTo>
                    <a:pt x="206" y="0"/>
                  </a:lnTo>
                  <a:cubicBezTo>
                    <a:pt x="211" y="0"/>
                    <a:pt x="215" y="5"/>
                    <a:pt x="215" y="10"/>
                  </a:cubicBezTo>
                  <a:lnTo>
                    <a:pt x="215" y="10"/>
                  </a:lnTo>
                  <a:lnTo>
                    <a:pt x="215" y="154"/>
                  </a:lnTo>
                  <a:cubicBezTo>
                    <a:pt x="215" y="159"/>
                    <a:pt x="211" y="163"/>
                    <a:pt x="206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10"/>
                  </a:lnTo>
                  <a:cubicBezTo>
                    <a:pt x="0" y="5"/>
                    <a:pt x="4" y="0"/>
                    <a:pt x="9" y="0"/>
                  </a:cubicBezTo>
                  <a:close/>
                  <a:moveTo>
                    <a:pt x="197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7" y="145"/>
                  </a:lnTo>
                  <a:lnTo>
                    <a:pt x="197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6" name="Rectangle 277"/>
            <p:cNvSpPr>
              <a:spLocks noChangeArrowheads="1"/>
            </p:cNvSpPr>
            <p:nvPr/>
          </p:nvSpPr>
          <p:spPr bwMode="auto">
            <a:xfrm>
              <a:off x="239" y="2563"/>
              <a:ext cx="46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7" name="Freeform 278"/>
            <p:cNvSpPr>
              <a:spLocks noEditPoints="1"/>
            </p:cNvSpPr>
            <p:nvPr/>
          </p:nvSpPr>
          <p:spPr bwMode="auto">
            <a:xfrm>
              <a:off x="237" y="2561"/>
              <a:ext cx="50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0" y="0"/>
                </a:cxn>
                <a:cxn ang="0">
                  <a:pos x="206" y="0"/>
                </a:cxn>
                <a:cxn ang="0">
                  <a:pos x="215" y="9"/>
                </a:cxn>
                <a:cxn ang="0">
                  <a:pos x="215" y="10"/>
                </a:cxn>
                <a:cxn ang="0">
                  <a:pos x="215" y="154"/>
                </a:cxn>
                <a:cxn ang="0">
                  <a:pos x="206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7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7" y="145"/>
                </a:cxn>
                <a:cxn ang="0">
                  <a:pos x="197" y="19"/>
                </a:cxn>
              </a:cxnLst>
              <a:rect l="0" t="0" r="r" b="b"/>
              <a:pathLst>
                <a:path w="215" h="163">
                  <a:moveTo>
                    <a:pt x="9" y="0"/>
                  </a:moveTo>
                  <a:lnTo>
                    <a:pt x="10" y="0"/>
                  </a:lnTo>
                  <a:lnTo>
                    <a:pt x="206" y="0"/>
                  </a:lnTo>
                  <a:cubicBezTo>
                    <a:pt x="211" y="0"/>
                    <a:pt x="215" y="4"/>
                    <a:pt x="215" y="9"/>
                  </a:cubicBezTo>
                  <a:lnTo>
                    <a:pt x="215" y="10"/>
                  </a:lnTo>
                  <a:lnTo>
                    <a:pt x="215" y="154"/>
                  </a:lnTo>
                  <a:cubicBezTo>
                    <a:pt x="215" y="159"/>
                    <a:pt x="211" y="163"/>
                    <a:pt x="206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7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7" y="145"/>
                  </a:lnTo>
                  <a:lnTo>
                    <a:pt x="197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8" name="Rectangle 279"/>
            <p:cNvSpPr>
              <a:spLocks noChangeArrowheads="1"/>
            </p:cNvSpPr>
            <p:nvPr/>
          </p:nvSpPr>
          <p:spPr bwMode="auto">
            <a:xfrm>
              <a:off x="298" y="2469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9" name="Freeform 280"/>
            <p:cNvSpPr>
              <a:spLocks noEditPoints="1"/>
            </p:cNvSpPr>
            <p:nvPr/>
          </p:nvSpPr>
          <p:spPr bwMode="auto">
            <a:xfrm>
              <a:off x="296" y="2467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9"/>
                </a:cxn>
                <a:cxn ang="0">
                  <a:pos x="214" y="153"/>
                </a:cxn>
                <a:cxn ang="0">
                  <a:pos x="205" y="162"/>
                </a:cxn>
                <a:cxn ang="0">
                  <a:pos x="205" y="162"/>
                </a:cxn>
                <a:cxn ang="0">
                  <a:pos x="9" y="162"/>
                </a:cxn>
                <a:cxn ang="0">
                  <a:pos x="0" y="153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8"/>
                </a:cxn>
                <a:cxn ang="0">
                  <a:pos x="18" y="18"/>
                </a:cxn>
                <a:cxn ang="0">
                  <a:pos x="18" y="144"/>
                </a:cxn>
                <a:cxn ang="0">
                  <a:pos x="196" y="144"/>
                </a:cxn>
                <a:cxn ang="0">
                  <a:pos x="196" y="18"/>
                </a:cxn>
              </a:cxnLst>
              <a:rect l="0" t="0" r="r" b="b"/>
              <a:pathLst>
                <a:path w="214" h="162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9"/>
                  </a:lnTo>
                  <a:lnTo>
                    <a:pt x="214" y="153"/>
                  </a:lnTo>
                  <a:cubicBezTo>
                    <a:pt x="214" y="158"/>
                    <a:pt x="210" y="162"/>
                    <a:pt x="205" y="162"/>
                  </a:cubicBezTo>
                  <a:lnTo>
                    <a:pt x="205" y="162"/>
                  </a:lnTo>
                  <a:lnTo>
                    <a:pt x="9" y="162"/>
                  </a:lnTo>
                  <a:cubicBezTo>
                    <a:pt x="4" y="162"/>
                    <a:pt x="0" y="158"/>
                    <a:pt x="0" y="153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8"/>
                  </a:moveTo>
                  <a:lnTo>
                    <a:pt x="18" y="18"/>
                  </a:lnTo>
                  <a:lnTo>
                    <a:pt x="18" y="144"/>
                  </a:lnTo>
                  <a:lnTo>
                    <a:pt x="196" y="144"/>
                  </a:lnTo>
                  <a:lnTo>
                    <a:pt x="196" y="18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0" name="Rectangle 281"/>
            <p:cNvSpPr>
              <a:spLocks noChangeArrowheads="1"/>
            </p:cNvSpPr>
            <p:nvPr/>
          </p:nvSpPr>
          <p:spPr bwMode="auto">
            <a:xfrm>
              <a:off x="298" y="2516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1" name="Freeform 282"/>
            <p:cNvSpPr>
              <a:spLocks noEditPoints="1"/>
            </p:cNvSpPr>
            <p:nvPr/>
          </p:nvSpPr>
          <p:spPr bwMode="auto">
            <a:xfrm>
              <a:off x="296" y="2514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10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10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5"/>
                    <a:pt x="214" y="10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10"/>
                  </a:lnTo>
                  <a:cubicBezTo>
                    <a:pt x="0" y="5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2" name="Rectangle 283"/>
            <p:cNvSpPr>
              <a:spLocks noChangeArrowheads="1"/>
            </p:cNvSpPr>
            <p:nvPr/>
          </p:nvSpPr>
          <p:spPr bwMode="auto">
            <a:xfrm>
              <a:off x="298" y="2563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3" name="Freeform 284"/>
            <p:cNvSpPr>
              <a:spLocks noEditPoints="1"/>
            </p:cNvSpPr>
            <p:nvPr/>
          </p:nvSpPr>
          <p:spPr bwMode="auto">
            <a:xfrm>
              <a:off x="296" y="2561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4" name="Freeform 285"/>
            <p:cNvSpPr>
              <a:spLocks/>
            </p:cNvSpPr>
            <p:nvPr/>
          </p:nvSpPr>
          <p:spPr bwMode="auto">
            <a:xfrm>
              <a:off x="237" y="2608"/>
              <a:ext cx="108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0" y="0"/>
                </a:cxn>
                <a:cxn ang="0">
                  <a:pos x="460" y="0"/>
                </a:cxn>
                <a:cxn ang="0">
                  <a:pos x="469" y="9"/>
                </a:cxn>
                <a:cxn ang="0">
                  <a:pos x="469" y="10"/>
                </a:cxn>
                <a:cxn ang="0">
                  <a:pos x="469" y="154"/>
                </a:cxn>
                <a:cxn ang="0">
                  <a:pos x="460" y="163"/>
                </a:cxn>
                <a:cxn ang="0">
                  <a:pos x="460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</a:cxnLst>
              <a:rect l="0" t="0" r="r" b="b"/>
              <a:pathLst>
                <a:path w="469" h="163">
                  <a:moveTo>
                    <a:pt x="9" y="0"/>
                  </a:moveTo>
                  <a:lnTo>
                    <a:pt x="10" y="0"/>
                  </a:lnTo>
                  <a:lnTo>
                    <a:pt x="460" y="0"/>
                  </a:lnTo>
                  <a:cubicBezTo>
                    <a:pt x="465" y="0"/>
                    <a:pt x="469" y="4"/>
                    <a:pt x="469" y="9"/>
                  </a:cubicBezTo>
                  <a:lnTo>
                    <a:pt x="469" y="10"/>
                  </a:lnTo>
                  <a:lnTo>
                    <a:pt x="469" y="154"/>
                  </a:lnTo>
                  <a:cubicBezTo>
                    <a:pt x="469" y="159"/>
                    <a:pt x="465" y="163"/>
                    <a:pt x="460" y="163"/>
                  </a:cubicBezTo>
                  <a:lnTo>
                    <a:pt x="460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</a:path>
              </a:pathLst>
            </a:custGeom>
            <a:solidFill>
              <a:srgbClr val="EF753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5" name="Rectangle 286"/>
            <p:cNvSpPr>
              <a:spLocks noChangeArrowheads="1"/>
            </p:cNvSpPr>
            <p:nvPr/>
          </p:nvSpPr>
          <p:spPr bwMode="auto">
            <a:xfrm>
              <a:off x="616" y="2555"/>
              <a:ext cx="279" cy="88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6" name="Rectangle 287"/>
            <p:cNvSpPr>
              <a:spLocks noChangeArrowheads="1"/>
            </p:cNvSpPr>
            <p:nvPr/>
          </p:nvSpPr>
          <p:spPr bwMode="auto">
            <a:xfrm>
              <a:off x="837" y="2643"/>
              <a:ext cx="36" cy="29"/>
            </a:xfrm>
            <a:prstGeom prst="rect">
              <a:avLst/>
            </a:prstGeom>
            <a:solidFill>
              <a:srgbClr val="000A9E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7" name="Rectangle 288"/>
            <p:cNvSpPr>
              <a:spLocks noChangeArrowheads="1"/>
            </p:cNvSpPr>
            <p:nvPr/>
          </p:nvSpPr>
          <p:spPr bwMode="auto">
            <a:xfrm>
              <a:off x="638" y="2643"/>
              <a:ext cx="36" cy="29"/>
            </a:xfrm>
            <a:prstGeom prst="rect">
              <a:avLst/>
            </a:prstGeom>
            <a:solidFill>
              <a:srgbClr val="2184A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8" name="Rectangle 289"/>
            <p:cNvSpPr>
              <a:spLocks noChangeArrowheads="1"/>
            </p:cNvSpPr>
            <p:nvPr/>
          </p:nvSpPr>
          <p:spPr bwMode="auto">
            <a:xfrm>
              <a:off x="702" y="2531"/>
              <a:ext cx="107" cy="24"/>
            </a:xfrm>
            <a:prstGeom prst="rect">
              <a:avLst/>
            </a:prstGeom>
            <a:solidFill>
              <a:srgbClr val="E7F1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9" name="Rectangle 290"/>
            <p:cNvSpPr>
              <a:spLocks noChangeArrowheads="1"/>
            </p:cNvSpPr>
            <p:nvPr/>
          </p:nvSpPr>
          <p:spPr bwMode="auto">
            <a:xfrm>
              <a:off x="727" y="2492"/>
              <a:ext cx="58" cy="39"/>
            </a:xfrm>
            <a:prstGeom prst="rect">
              <a:avLst/>
            </a:prstGeom>
            <a:solidFill>
              <a:srgbClr val="2184A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0" name="Freeform 291"/>
            <p:cNvSpPr>
              <a:spLocks/>
            </p:cNvSpPr>
            <p:nvPr/>
          </p:nvSpPr>
          <p:spPr bwMode="auto">
            <a:xfrm>
              <a:off x="707" y="2164"/>
              <a:ext cx="97" cy="271"/>
            </a:xfrm>
            <a:custGeom>
              <a:avLst/>
              <a:gdLst/>
              <a:ahLst/>
              <a:cxnLst>
                <a:cxn ang="0">
                  <a:pos x="419" y="0"/>
                </a:cxn>
                <a:cxn ang="0">
                  <a:pos x="419" y="952"/>
                </a:cxn>
                <a:cxn ang="0">
                  <a:pos x="357" y="1100"/>
                </a:cxn>
                <a:cxn ang="0">
                  <a:pos x="357" y="1100"/>
                </a:cxn>
                <a:cxn ang="0">
                  <a:pos x="209" y="1162"/>
                </a:cxn>
                <a:cxn ang="0">
                  <a:pos x="209" y="1162"/>
                </a:cxn>
                <a:cxn ang="0">
                  <a:pos x="61" y="1100"/>
                </a:cxn>
                <a:cxn ang="0">
                  <a:pos x="61" y="1100"/>
                </a:cxn>
                <a:cxn ang="0">
                  <a:pos x="0" y="952"/>
                </a:cxn>
                <a:cxn ang="0">
                  <a:pos x="0" y="0"/>
                </a:cxn>
                <a:cxn ang="0">
                  <a:pos x="86" y="0"/>
                </a:cxn>
                <a:cxn ang="0">
                  <a:pos x="86" y="952"/>
                </a:cxn>
                <a:cxn ang="0">
                  <a:pos x="122" y="1039"/>
                </a:cxn>
                <a:cxn ang="0">
                  <a:pos x="122" y="1039"/>
                </a:cxn>
                <a:cxn ang="0">
                  <a:pos x="209" y="1075"/>
                </a:cxn>
                <a:cxn ang="0">
                  <a:pos x="209" y="1075"/>
                </a:cxn>
                <a:cxn ang="0">
                  <a:pos x="296" y="1039"/>
                </a:cxn>
                <a:cxn ang="0">
                  <a:pos x="296" y="1039"/>
                </a:cxn>
                <a:cxn ang="0">
                  <a:pos x="333" y="952"/>
                </a:cxn>
                <a:cxn ang="0">
                  <a:pos x="333" y="0"/>
                </a:cxn>
                <a:cxn ang="0">
                  <a:pos x="419" y="0"/>
                </a:cxn>
              </a:cxnLst>
              <a:rect l="0" t="0" r="r" b="b"/>
              <a:pathLst>
                <a:path w="419" h="1162">
                  <a:moveTo>
                    <a:pt x="419" y="0"/>
                  </a:moveTo>
                  <a:lnTo>
                    <a:pt x="419" y="952"/>
                  </a:lnTo>
                  <a:cubicBezTo>
                    <a:pt x="419" y="1009"/>
                    <a:pt x="395" y="1062"/>
                    <a:pt x="357" y="1100"/>
                  </a:cubicBezTo>
                  <a:lnTo>
                    <a:pt x="357" y="1100"/>
                  </a:lnTo>
                  <a:cubicBezTo>
                    <a:pt x="319" y="1138"/>
                    <a:pt x="267" y="1162"/>
                    <a:pt x="209" y="1162"/>
                  </a:cubicBezTo>
                  <a:lnTo>
                    <a:pt x="209" y="1162"/>
                  </a:lnTo>
                  <a:cubicBezTo>
                    <a:pt x="152" y="1162"/>
                    <a:pt x="99" y="1138"/>
                    <a:pt x="61" y="1100"/>
                  </a:cubicBezTo>
                  <a:lnTo>
                    <a:pt x="61" y="1100"/>
                  </a:lnTo>
                  <a:cubicBezTo>
                    <a:pt x="23" y="1062"/>
                    <a:pt x="0" y="1009"/>
                    <a:pt x="0" y="952"/>
                  </a:cubicBezTo>
                  <a:lnTo>
                    <a:pt x="0" y="0"/>
                  </a:lnTo>
                  <a:lnTo>
                    <a:pt x="86" y="0"/>
                  </a:lnTo>
                  <a:lnTo>
                    <a:pt x="86" y="952"/>
                  </a:lnTo>
                  <a:cubicBezTo>
                    <a:pt x="86" y="986"/>
                    <a:pt x="100" y="1017"/>
                    <a:pt x="122" y="1039"/>
                  </a:cubicBezTo>
                  <a:lnTo>
                    <a:pt x="122" y="1039"/>
                  </a:lnTo>
                  <a:cubicBezTo>
                    <a:pt x="145" y="1061"/>
                    <a:pt x="175" y="1075"/>
                    <a:pt x="209" y="1075"/>
                  </a:cubicBezTo>
                  <a:lnTo>
                    <a:pt x="209" y="1075"/>
                  </a:lnTo>
                  <a:cubicBezTo>
                    <a:pt x="243" y="1075"/>
                    <a:pt x="274" y="1061"/>
                    <a:pt x="296" y="1039"/>
                  </a:cubicBezTo>
                  <a:lnTo>
                    <a:pt x="296" y="1039"/>
                  </a:lnTo>
                  <a:cubicBezTo>
                    <a:pt x="319" y="1017"/>
                    <a:pt x="333" y="986"/>
                    <a:pt x="333" y="952"/>
                  </a:cubicBezTo>
                  <a:lnTo>
                    <a:pt x="333" y="0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E7F1F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1" name="Rectangle 292"/>
            <p:cNvSpPr>
              <a:spLocks noChangeArrowheads="1"/>
            </p:cNvSpPr>
            <p:nvPr/>
          </p:nvSpPr>
          <p:spPr bwMode="auto">
            <a:xfrm>
              <a:off x="746" y="2424"/>
              <a:ext cx="20" cy="68"/>
            </a:xfrm>
            <a:prstGeom prst="rect">
              <a:avLst/>
            </a:prstGeom>
            <a:solidFill>
              <a:srgbClr val="E7F1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2" name="Rectangle 293"/>
            <p:cNvSpPr>
              <a:spLocks noChangeArrowheads="1"/>
            </p:cNvSpPr>
            <p:nvPr/>
          </p:nvSpPr>
          <p:spPr bwMode="auto">
            <a:xfrm>
              <a:off x="756" y="2555"/>
              <a:ext cx="139" cy="88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3" name="Rectangle 294"/>
            <p:cNvSpPr>
              <a:spLocks noChangeArrowheads="1"/>
            </p:cNvSpPr>
            <p:nvPr/>
          </p:nvSpPr>
          <p:spPr bwMode="auto">
            <a:xfrm>
              <a:off x="837" y="2643"/>
              <a:ext cx="36" cy="29"/>
            </a:xfrm>
            <a:prstGeom prst="rect">
              <a:avLst/>
            </a:prstGeom>
            <a:solidFill>
              <a:srgbClr val="04688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4" name="Rectangle 295"/>
            <p:cNvSpPr>
              <a:spLocks noChangeArrowheads="1"/>
            </p:cNvSpPr>
            <p:nvPr/>
          </p:nvSpPr>
          <p:spPr bwMode="auto">
            <a:xfrm>
              <a:off x="756" y="2531"/>
              <a:ext cx="53" cy="24"/>
            </a:xfrm>
            <a:prstGeom prst="rect">
              <a:avLst/>
            </a:prstGeom>
            <a:solidFill>
              <a:srgbClr val="D9E8EB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5" name="Rectangle 296"/>
            <p:cNvSpPr>
              <a:spLocks noChangeArrowheads="1"/>
            </p:cNvSpPr>
            <p:nvPr/>
          </p:nvSpPr>
          <p:spPr bwMode="auto">
            <a:xfrm>
              <a:off x="756" y="2492"/>
              <a:ext cx="29" cy="39"/>
            </a:xfrm>
            <a:prstGeom prst="rect">
              <a:avLst/>
            </a:prstGeom>
            <a:solidFill>
              <a:srgbClr val="04688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6" name="Freeform 297"/>
            <p:cNvSpPr>
              <a:spLocks/>
            </p:cNvSpPr>
            <p:nvPr/>
          </p:nvSpPr>
          <p:spPr bwMode="auto">
            <a:xfrm>
              <a:off x="756" y="2164"/>
              <a:ext cx="48" cy="271"/>
            </a:xfrm>
            <a:custGeom>
              <a:avLst/>
              <a:gdLst/>
              <a:ahLst/>
              <a:cxnLst>
                <a:cxn ang="0">
                  <a:pos x="210" y="0"/>
                </a:cxn>
                <a:cxn ang="0">
                  <a:pos x="210" y="952"/>
                </a:cxn>
                <a:cxn ang="0">
                  <a:pos x="148" y="1100"/>
                </a:cxn>
                <a:cxn ang="0">
                  <a:pos x="148" y="1100"/>
                </a:cxn>
                <a:cxn ang="0">
                  <a:pos x="0" y="1162"/>
                </a:cxn>
                <a:cxn ang="0">
                  <a:pos x="0" y="1161"/>
                </a:cxn>
                <a:cxn ang="0">
                  <a:pos x="0" y="1075"/>
                </a:cxn>
                <a:cxn ang="0">
                  <a:pos x="0" y="1075"/>
                </a:cxn>
                <a:cxn ang="0">
                  <a:pos x="87" y="1039"/>
                </a:cxn>
                <a:cxn ang="0">
                  <a:pos x="88" y="1039"/>
                </a:cxn>
                <a:cxn ang="0">
                  <a:pos x="124" y="952"/>
                </a:cxn>
                <a:cxn ang="0">
                  <a:pos x="124" y="0"/>
                </a:cxn>
                <a:cxn ang="0">
                  <a:pos x="210" y="0"/>
                </a:cxn>
              </a:cxnLst>
              <a:rect l="0" t="0" r="r" b="b"/>
              <a:pathLst>
                <a:path w="210" h="1162">
                  <a:moveTo>
                    <a:pt x="210" y="0"/>
                  </a:moveTo>
                  <a:lnTo>
                    <a:pt x="210" y="952"/>
                  </a:lnTo>
                  <a:cubicBezTo>
                    <a:pt x="210" y="1009"/>
                    <a:pt x="186" y="1062"/>
                    <a:pt x="148" y="1100"/>
                  </a:cubicBezTo>
                  <a:lnTo>
                    <a:pt x="148" y="1100"/>
                  </a:lnTo>
                  <a:cubicBezTo>
                    <a:pt x="110" y="1138"/>
                    <a:pt x="58" y="1162"/>
                    <a:pt x="0" y="1162"/>
                  </a:cubicBezTo>
                  <a:lnTo>
                    <a:pt x="0" y="1161"/>
                  </a:lnTo>
                  <a:lnTo>
                    <a:pt x="0" y="1075"/>
                  </a:lnTo>
                  <a:lnTo>
                    <a:pt x="0" y="1075"/>
                  </a:lnTo>
                  <a:cubicBezTo>
                    <a:pt x="34" y="1075"/>
                    <a:pt x="65" y="1061"/>
                    <a:pt x="87" y="1039"/>
                  </a:cubicBezTo>
                  <a:lnTo>
                    <a:pt x="88" y="1039"/>
                  </a:lnTo>
                  <a:cubicBezTo>
                    <a:pt x="110" y="1017"/>
                    <a:pt x="124" y="986"/>
                    <a:pt x="124" y="952"/>
                  </a:cubicBezTo>
                  <a:lnTo>
                    <a:pt x="124" y="0"/>
                  </a:lnTo>
                  <a:lnTo>
                    <a:pt x="210" y="0"/>
                  </a:lnTo>
                  <a:close/>
                </a:path>
              </a:pathLst>
            </a:custGeom>
            <a:solidFill>
              <a:srgbClr val="D9E8E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7" name="Rectangle 298"/>
            <p:cNvSpPr>
              <a:spLocks noChangeArrowheads="1"/>
            </p:cNvSpPr>
            <p:nvPr/>
          </p:nvSpPr>
          <p:spPr bwMode="auto">
            <a:xfrm>
              <a:off x="756" y="2424"/>
              <a:ext cx="10" cy="68"/>
            </a:xfrm>
            <a:prstGeom prst="rect">
              <a:avLst/>
            </a:prstGeom>
            <a:solidFill>
              <a:srgbClr val="D9E8EB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439" name="Прямоугольник 438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15304" y="6651117"/>
            <a:ext cx="8726060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pic>
        <p:nvPicPr>
          <p:cNvPr id="442" name="Рисунок 441" descr="004.emf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344431" y="4986811"/>
            <a:ext cx="1163990" cy="695982"/>
          </a:xfrm>
          <a:prstGeom prst="rect">
            <a:avLst/>
          </a:prstGeom>
        </p:spPr>
      </p:pic>
      <p:grpSp>
        <p:nvGrpSpPr>
          <p:cNvPr id="7" name="Группа 6"/>
          <p:cNvGrpSpPr/>
          <p:nvPr/>
        </p:nvGrpSpPr>
        <p:grpSpPr>
          <a:xfrm>
            <a:off x="1596827" y="2119589"/>
            <a:ext cx="10109846" cy="3619331"/>
            <a:chOff x="1337704" y="2174682"/>
            <a:chExt cx="10109846" cy="3619331"/>
          </a:xfrm>
        </p:grpSpPr>
        <p:sp>
          <p:nvSpPr>
            <p:cNvPr id="47" name="TextBox 46"/>
            <p:cNvSpPr txBox="1"/>
            <p:nvPr/>
          </p:nvSpPr>
          <p:spPr>
            <a:xfrm>
              <a:off x="1337705" y="2178219"/>
              <a:ext cx="5003703" cy="770193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wrap="square" lIns="72000" tIns="72000" rIns="72000" bIns="7200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ru-RU" sz="1400" b="1" dirty="0" smtClean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Освоение основ чтения </a:t>
              </a:r>
              <a:r>
                <a:rPr lang="ru-RU" sz="1400" dirty="0" smtClean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с целью</a:t>
              </a:r>
            </a:p>
            <a:p>
              <a:pPr marL="135000" indent="-135000">
                <a:buFont typeface="Arial" panose="020B0604020202020204" pitchFamily="34" charset="0"/>
                <a:buChar char="•"/>
              </a:pPr>
              <a:r>
                <a:rPr lang="ru-RU" sz="1400" dirty="0" smtClean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приобретения </a:t>
              </a:r>
              <a:r>
                <a:rPr lang="ru-RU" sz="14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читательского литературного опыта</a:t>
              </a:r>
            </a:p>
            <a:p>
              <a:pPr marL="135000" indent="-135000">
                <a:buFont typeface="Arial" panose="020B0604020202020204" pitchFamily="34" charset="0"/>
                <a:buChar char="•"/>
              </a:pPr>
              <a:r>
                <a:rPr lang="ru-RU" sz="14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освоения и использования </a:t>
              </a:r>
              <a:r>
                <a:rPr lang="ru-RU" sz="1400" dirty="0" smtClean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информации</a:t>
              </a:r>
              <a:endParaRPr lang="en-US" sz="14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6432742" y="2174682"/>
              <a:ext cx="5014808" cy="761288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 algn="ctr">
                <a:defRPr sz="1400" b="1">
                  <a:solidFill>
                    <a:schemeClr val="lt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lvl="0">
                <a:spcBef>
                  <a:spcPct val="0"/>
                </a:spcBef>
                <a:defRPr/>
              </a:pPr>
              <a:endParaRPr lang="en-US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lvl="0" algn="l">
                <a:spcBef>
                  <a:spcPct val="0"/>
                </a:spcBef>
                <a:defRPr/>
              </a:pPr>
              <a:r>
                <a:rPr lang="en-US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IRLS</a:t>
              </a:r>
              <a:r>
                <a:rPr lang="ru-RU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lang="ru-RU" b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–</a:t>
              </a:r>
              <a:r>
                <a:rPr lang="en-US" b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lang="en-US" b="0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rogress </a:t>
              </a:r>
              <a:r>
                <a:rPr lang="en-US" b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 International Reading Literacy Study</a:t>
              </a:r>
              <a:r>
                <a:rPr lang="ru-RU" b="0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,</a:t>
              </a:r>
              <a:endParaRPr lang="en-US" b="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lvl="0" algn="l">
                <a:spcBef>
                  <a:spcPct val="0"/>
                </a:spcBef>
                <a:defRPr/>
              </a:pPr>
              <a:r>
                <a:rPr lang="ru-RU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4 </a:t>
              </a:r>
              <a:r>
                <a:rPr lang="ru-RU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класс, </a:t>
              </a:r>
              <a:r>
                <a:rPr lang="ru-RU" b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один раз в 5 </a:t>
              </a:r>
              <a:r>
                <a:rPr lang="ru-RU" b="0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лет</a:t>
              </a:r>
              <a:endParaRPr lang="en-US" b="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lvl="0" algn="l">
                <a:spcBef>
                  <a:spcPct val="0"/>
                </a:spcBef>
                <a:defRPr/>
              </a:pPr>
              <a:r>
                <a:rPr lang="ru-RU" b="0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2001</a:t>
              </a:r>
              <a:r>
                <a:rPr lang="ru-RU" b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, 2006, 2011, 2016, </a:t>
              </a:r>
              <a:r>
                <a:rPr lang="ru-RU" sz="1600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2021</a:t>
              </a:r>
              <a:r>
                <a:rPr lang="en-US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…</a:t>
              </a:r>
            </a:p>
            <a:p>
              <a:pPr lvl="0">
                <a:spcBef>
                  <a:spcPct val="0"/>
                </a:spcBef>
                <a:defRPr/>
              </a:pPr>
              <a:endParaRPr lang="ru-RU" dirty="0"/>
            </a:p>
          </p:txBody>
        </p:sp>
        <p:sp>
          <p:nvSpPr>
            <p:cNvPr id="440" name="TextBox 439"/>
            <p:cNvSpPr txBox="1"/>
            <p:nvPr/>
          </p:nvSpPr>
          <p:spPr>
            <a:xfrm>
              <a:off x="1337705" y="3404003"/>
              <a:ext cx="5003703" cy="1007181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wrap="square" lIns="72000" tIns="72000" rIns="72000" bIns="72000" rtlCol="0">
              <a:spAutoFit/>
            </a:bodyPr>
            <a:lstStyle/>
            <a:p>
              <a:pPr lvl="0">
                <a:spcBef>
                  <a:spcPct val="0"/>
                </a:spcBef>
                <a:defRPr/>
              </a:pPr>
              <a:r>
                <a:rPr lang="ru-RU" sz="1400" b="1" dirty="0" smtClean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Освоение основ математики и естественно-научных предметов:</a:t>
              </a:r>
            </a:p>
            <a:p>
              <a:pPr marL="135000" indent="-135000">
                <a:buFont typeface="Arial" panose="020B0604020202020204" pitchFamily="34" charset="0"/>
                <a:buChar char="•"/>
                <a:defRPr/>
              </a:pPr>
              <a:r>
                <a:rPr lang="ru-RU" sz="1400" dirty="0" smtClean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всех </a:t>
              </a:r>
              <a:r>
                <a:rPr lang="ru-RU" sz="14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общеобразовательных курсов (4, 8 классы)</a:t>
              </a:r>
            </a:p>
            <a:p>
              <a:pPr marL="135000" indent="-135000">
                <a:buFont typeface="Arial" panose="020B0604020202020204" pitchFamily="34" charset="0"/>
                <a:buChar char="•"/>
                <a:defRPr/>
              </a:pPr>
              <a:r>
                <a:rPr lang="ru-RU" sz="14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углублённых курсов математики и физики (11 класс)</a:t>
              </a:r>
            </a:p>
          </p:txBody>
        </p:sp>
        <p:sp>
          <p:nvSpPr>
            <p:cNvPr id="441" name="TextBox 440"/>
            <p:cNvSpPr txBox="1"/>
            <p:nvPr/>
          </p:nvSpPr>
          <p:spPr>
            <a:xfrm>
              <a:off x="6432742" y="3404003"/>
              <a:ext cx="5014808" cy="100382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 algn="ctr">
                <a:defRPr sz="1400" b="1">
                  <a:solidFill>
                    <a:schemeClr val="lt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lvl="0" algn="l">
                <a:spcBef>
                  <a:spcPct val="0"/>
                </a:spcBef>
                <a:defRPr/>
              </a:pPr>
              <a:r>
                <a:rPr lang="en-US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IMSS</a:t>
              </a:r>
              <a:r>
                <a:rPr lang="ru-RU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lang="ru-RU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–</a:t>
              </a:r>
              <a:r>
                <a:rPr lang="en-US" b="0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rends </a:t>
              </a:r>
              <a:r>
                <a:rPr lang="en-US" b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 Mathematics and Science Study</a:t>
              </a:r>
              <a:r>
                <a:rPr lang="ru-RU" b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, </a:t>
              </a:r>
              <a:endParaRPr lang="en-US" b="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lvl="0" algn="l">
                <a:spcBef>
                  <a:spcPct val="0"/>
                </a:spcBef>
                <a:defRPr/>
              </a:pPr>
              <a:r>
                <a:rPr lang="ru-RU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4</a:t>
              </a:r>
              <a:r>
                <a:rPr lang="ru-RU" b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, </a:t>
              </a:r>
              <a:r>
                <a:rPr lang="ru-RU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8 и 11 классы</a:t>
              </a:r>
              <a:r>
                <a:rPr lang="ru-RU" b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, один раз в 4 </a:t>
              </a:r>
              <a:r>
                <a:rPr lang="ru-RU" b="0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года</a:t>
              </a:r>
              <a:endParaRPr lang="en-US" b="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lvl="0" algn="l">
                <a:spcBef>
                  <a:spcPct val="0"/>
                </a:spcBef>
                <a:defRPr/>
              </a:pPr>
              <a:r>
                <a:rPr lang="ru-RU" b="0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1995</a:t>
              </a:r>
              <a:r>
                <a:rPr lang="ru-RU" b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,…, 2015, 2019, </a:t>
              </a:r>
              <a:r>
                <a:rPr lang="ru-RU" sz="16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2023</a:t>
              </a:r>
              <a:r>
                <a:rPr lang="ru-RU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…</a:t>
              </a:r>
              <a:endParaRPr lang="en-US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lvl="0" algn="l">
                <a:spcBef>
                  <a:spcPct val="0"/>
                </a:spcBef>
                <a:defRPr/>
              </a:pPr>
              <a:endParaRPr lang="ru-RU" dirty="0"/>
            </a:p>
          </p:txBody>
        </p:sp>
        <p:sp>
          <p:nvSpPr>
            <p:cNvPr id="443" name="TextBox 442"/>
            <p:cNvSpPr txBox="1"/>
            <p:nvPr/>
          </p:nvSpPr>
          <p:spPr>
            <a:xfrm>
              <a:off x="1337704" y="4786832"/>
              <a:ext cx="5003704" cy="1007181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wrap="square" lIns="72000" tIns="72000" rIns="72000" bIns="72000" rtlCol="0">
              <a:spAutoFit/>
            </a:bodyPr>
            <a:lstStyle/>
            <a:p>
              <a:r>
                <a:rPr lang="ru-RU" sz="1400" b="1" dirty="0" err="1" smtClean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Сформированность</a:t>
              </a:r>
              <a:r>
                <a:rPr lang="ru-RU" sz="1400" b="1" dirty="0" smtClean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функциональной грамотности, навыков разрешения проблем, глобальных компетенций, креативного мышления</a:t>
              </a:r>
              <a:endParaRPr lang="en-US" sz="1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endParaRPr lang="en-US" sz="1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44" name="TextBox 443"/>
            <p:cNvSpPr txBox="1"/>
            <p:nvPr/>
          </p:nvSpPr>
          <p:spPr>
            <a:xfrm>
              <a:off x="6487673" y="4786831"/>
              <a:ext cx="4959877" cy="1007181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 algn="ctr">
                <a:defRPr sz="1400" b="1">
                  <a:solidFill>
                    <a:schemeClr val="lt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lvl="0" algn="l">
                <a:spcBef>
                  <a:spcPct val="0"/>
                </a:spcBef>
                <a:defRPr/>
              </a:pPr>
              <a:r>
                <a:rPr lang="en-US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ISA</a:t>
              </a:r>
              <a:r>
                <a:rPr lang="ru-RU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lang="ru-RU" b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–</a:t>
              </a:r>
              <a:r>
                <a:rPr lang="en-US" b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lang="en-US" b="0" dirty="0" err="1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rogramme</a:t>
              </a:r>
              <a:r>
                <a:rPr lang="en-US" b="0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lang="en-US" b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for International Student </a:t>
              </a:r>
              <a:r>
                <a:rPr lang="en-US" b="0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ssessment</a:t>
              </a:r>
              <a:r>
                <a:rPr lang="ru-RU" b="0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,</a:t>
              </a:r>
              <a:endParaRPr lang="en-US" b="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lvl="0" algn="l">
                <a:spcBef>
                  <a:spcPct val="0"/>
                </a:spcBef>
                <a:defRPr/>
              </a:pPr>
              <a:r>
                <a:rPr lang="ru-RU" b="0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15-летние обучающиеся,</a:t>
              </a:r>
              <a:r>
                <a:rPr lang="en-US" b="0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lang="ru-RU" b="0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один </a:t>
              </a:r>
              <a:r>
                <a:rPr lang="ru-RU" b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раз в 3 года</a:t>
              </a:r>
            </a:p>
            <a:p>
              <a:pPr lvl="0" algn="l">
                <a:spcBef>
                  <a:spcPct val="0"/>
                </a:spcBef>
                <a:defRPr/>
              </a:pPr>
              <a:r>
                <a:rPr lang="ru-RU" b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2000,…, 2015, 2018, </a:t>
              </a:r>
              <a:r>
                <a:rPr lang="ru-RU" sz="1600" b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2021, </a:t>
              </a:r>
              <a:r>
                <a:rPr lang="en-US" sz="16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2024</a:t>
              </a:r>
              <a:r>
                <a:rPr lang="ru-RU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…</a:t>
              </a:r>
              <a:endParaRPr lang="ru-RU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cxnSp>
        <p:nvCxnSpPr>
          <p:cNvPr id="122" name="Прямая соединительная линия 121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r>
              <a:rPr lang="ru-RU" dirty="0" smtClean="0"/>
              <a:t>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877297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2AD04C8F-AB05-4497-BFF1-6646C29661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97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2AD04C8F-AB05-4497-BFF1-6646C29661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2"/>
          <p:cNvSpPr>
            <a:spLocks noChangeArrowheads="1"/>
          </p:cNvSpPr>
          <p:nvPr/>
        </p:nvSpPr>
        <p:spPr bwMode="auto">
          <a:xfrm>
            <a:off x="-203640" y="-11486"/>
            <a:ext cx="246286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 sz="2400">
              <a:solidFill>
                <a:srgbClr val="002060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7558837" y="4858421"/>
            <a:ext cx="451633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" charset="0"/>
              </a:rPr>
              <a:t>По рейтингу эффективности системы образования, РОССИЯ занимает 14 место в мире, из за значительного отставания по уровню грамотности учащихся средней школы и способности учащихся применять на практике полученные знания и навыки  (</a:t>
            </a:r>
            <a:r>
              <a:rPr lang="en-US" sz="1400" b="1" dirty="0">
                <a:solidFill>
                  <a:schemeClr val="bg1"/>
                </a:solidFill>
                <a:latin typeface="Arial" charset="0"/>
              </a:rPr>
              <a:t>PISA)</a:t>
            </a:r>
            <a:endParaRPr lang="ru-RU" sz="1400" b="1" dirty="0">
              <a:solidFill>
                <a:schemeClr val="bg1"/>
              </a:solidFill>
              <a:latin typeface="Arial" charset="0"/>
            </a:endParaRPr>
          </a:p>
        </p:txBody>
      </p:sp>
      <p:grpSp>
        <p:nvGrpSpPr>
          <p:cNvPr id="44" name="Группа 43">
            <a:extLst>
              <a:ext uri="{FF2B5EF4-FFF2-40B4-BE49-F238E27FC236}">
                <a16:creationId xmlns:a16="http://schemas.microsoft.com/office/drawing/2014/main" id="{5F409373-9A5B-44C8-816B-3CD4935B5D87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46" name="Freeform 6">
              <a:extLst>
                <a:ext uri="{FF2B5EF4-FFF2-40B4-BE49-F238E27FC236}">
                  <a16:creationId xmlns:a16="http://schemas.microsoft.com/office/drawing/2014/main" id="{40E68789-FF1F-4ECD-A4C0-D92B4205B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7">
              <a:extLst>
                <a:ext uri="{FF2B5EF4-FFF2-40B4-BE49-F238E27FC236}">
                  <a16:creationId xmlns:a16="http://schemas.microsoft.com/office/drawing/2014/main" id="{2D304122-1789-4C7E-8E38-BD9AE1A3D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8">
              <a:extLst>
                <a:ext uri="{FF2B5EF4-FFF2-40B4-BE49-F238E27FC236}">
                  <a16:creationId xmlns:a16="http://schemas.microsoft.com/office/drawing/2014/main" id="{7D340A83-4DFE-45F3-9D9F-69C94507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2" name="Freeform 9">
              <a:extLst>
                <a:ext uri="{FF2B5EF4-FFF2-40B4-BE49-F238E27FC236}">
                  <a16:creationId xmlns:a16="http://schemas.microsoft.com/office/drawing/2014/main" id="{C7D9E808-0EC6-4708-B386-6B8B12016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3" name="Freeform 10">
              <a:extLst>
                <a:ext uri="{FF2B5EF4-FFF2-40B4-BE49-F238E27FC236}">
                  <a16:creationId xmlns:a16="http://schemas.microsoft.com/office/drawing/2014/main" id="{3272587C-45EE-494E-B363-B30FF2FFA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4" name="Freeform 11">
              <a:extLst>
                <a:ext uri="{FF2B5EF4-FFF2-40B4-BE49-F238E27FC236}">
                  <a16:creationId xmlns:a16="http://schemas.microsoft.com/office/drawing/2014/main" id="{DBEEAD1B-C5F3-4CAB-89E6-CD120401C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5" name="Freeform 12">
              <a:extLst>
                <a:ext uri="{FF2B5EF4-FFF2-40B4-BE49-F238E27FC236}">
                  <a16:creationId xmlns:a16="http://schemas.microsoft.com/office/drawing/2014/main" id="{DFAB29F9-B38A-48AF-9670-8A649BC87E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6" name="Freeform 13">
              <a:extLst>
                <a:ext uri="{FF2B5EF4-FFF2-40B4-BE49-F238E27FC236}">
                  <a16:creationId xmlns:a16="http://schemas.microsoft.com/office/drawing/2014/main" id="{B7F53006-9B26-4E6D-9C8C-B85E38492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7" name="Freeform 14">
              <a:extLst>
                <a:ext uri="{FF2B5EF4-FFF2-40B4-BE49-F238E27FC236}">
                  <a16:creationId xmlns:a16="http://schemas.microsoft.com/office/drawing/2014/main" id="{B1633DED-5F87-446C-A4F7-8C7B4F8D9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8" name="Freeform 15">
              <a:extLst>
                <a:ext uri="{FF2B5EF4-FFF2-40B4-BE49-F238E27FC236}">
                  <a16:creationId xmlns:a16="http://schemas.microsoft.com/office/drawing/2014/main" id="{0247048E-69DF-444C-BDB4-A58F593E8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9" name="Freeform 16">
              <a:extLst>
                <a:ext uri="{FF2B5EF4-FFF2-40B4-BE49-F238E27FC236}">
                  <a16:creationId xmlns:a16="http://schemas.microsoft.com/office/drawing/2014/main" id="{CE9FB897-82E1-4D63-B526-522A6B5CC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0" name="Freeform 17">
              <a:extLst>
                <a:ext uri="{FF2B5EF4-FFF2-40B4-BE49-F238E27FC236}">
                  <a16:creationId xmlns:a16="http://schemas.microsoft.com/office/drawing/2014/main" id="{E75B5DBF-82DC-4DE6-A954-058E409C7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1" name="Freeform 18">
              <a:extLst>
                <a:ext uri="{FF2B5EF4-FFF2-40B4-BE49-F238E27FC236}">
                  <a16:creationId xmlns:a16="http://schemas.microsoft.com/office/drawing/2014/main" id="{8D318242-192B-473E-AADF-DA090CA6B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2" name="Freeform 19">
              <a:extLst>
                <a:ext uri="{FF2B5EF4-FFF2-40B4-BE49-F238E27FC236}">
                  <a16:creationId xmlns:a16="http://schemas.microsoft.com/office/drawing/2014/main" id="{F1A4685F-C9AD-47B0-94F5-BC135E1FA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81" name="TextBox 80"/>
          <p:cNvSpPr txBox="1"/>
          <p:nvPr/>
        </p:nvSpPr>
        <p:spPr>
          <a:xfrm>
            <a:off x="497323" y="470893"/>
            <a:ext cx="10124344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еждународная оценка качества образования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4" name="Прямоугольник 9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15303" y="6651117"/>
            <a:ext cx="7025297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cxnSp>
        <p:nvCxnSpPr>
          <p:cNvPr id="95" name="Прямая соединительная линия 94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TextBox 28"/>
          <p:cNvSpPr txBox="1">
            <a:spLocks noChangeArrowheads="1"/>
          </p:cNvSpPr>
          <p:nvPr/>
        </p:nvSpPr>
        <p:spPr bwMode="auto">
          <a:xfrm>
            <a:off x="413205" y="1382619"/>
            <a:ext cx="1070842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/>
            <a:r>
              <a:rPr lang="ru-RU" alt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оссийские школьники обладают значительным объемом знаний, но не умеют грамотно пользоваться этими </a:t>
            </a:r>
            <a:r>
              <a:rPr lang="ru-RU" alt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знаниями.</a:t>
            </a:r>
            <a:endParaRPr lang="ru-RU" altLang="ru-RU" sz="16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97" name="Прямоугольник 96"/>
          <p:cNvSpPr/>
          <p:nvPr/>
        </p:nvSpPr>
        <p:spPr>
          <a:xfrm>
            <a:off x="438886" y="2115755"/>
            <a:ext cx="10156354" cy="293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defRPr/>
            </a:pP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езультаты российских учащихся в исследованиях </a:t>
            </a:r>
            <a:r>
              <a:rPr 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IRLS, TIMSS, PISA</a:t>
            </a: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(2015-2016 </a:t>
            </a: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оды</a:t>
            </a:r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).</a:t>
            </a:r>
            <a:endParaRPr lang="ru-RU" sz="16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98" name="Группа 97"/>
          <p:cNvGrpSpPr/>
          <p:nvPr/>
        </p:nvGrpSpPr>
        <p:grpSpPr>
          <a:xfrm>
            <a:off x="413205" y="2408849"/>
            <a:ext cx="9468028" cy="4194685"/>
            <a:chOff x="1447621" y="2149823"/>
            <a:chExt cx="9468028" cy="4194685"/>
          </a:xfrm>
        </p:grpSpPr>
        <p:grpSp>
          <p:nvGrpSpPr>
            <p:cNvPr id="99" name="Группа 98"/>
            <p:cNvGrpSpPr/>
            <p:nvPr/>
          </p:nvGrpSpPr>
          <p:grpSpPr>
            <a:xfrm>
              <a:off x="1447621" y="2149823"/>
              <a:ext cx="9468028" cy="4194685"/>
              <a:chOff x="1546789" y="2279867"/>
              <a:chExt cx="9468028" cy="4194685"/>
            </a:xfrm>
          </p:grpSpPr>
          <p:pic>
            <p:nvPicPr>
              <p:cNvPr id="103" name="Рисунок 102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sharpenSoften amount="5000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1546789" y="2302201"/>
                <a:ext cx="9468028" cy="4172351"/>
              </a:xfrm>
              <a:prstGeom prst="rect">
                <a:avLst/>
              </a:prstGeom>
            </p:spPr>
          </p:pic>
          <p:sp>
            <p:nvSpPr>
              <p:cNvPr id="104" name="TextBox 103"/>
              <p:cNvSpPr txBox="1"/>
              <p:nvPr/>
            </p:nvSpPr>
            <p:spPr>
              <a:xfrm>
                <a:off x="2042444" y="2521010"/>
                <a:ext cx="383093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b="1" dirty="0" smtClean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7</a:t>
                </a:r>
                <a:endParaRPr lang="ru-RU" sz="1600" b="1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05" name="TextBox 104"/>
              <p:cNvSpPr txBox="1"/>
              <p:nvPr/>
            </p:nvSpPr>
            <p:spPr>
              <a:xfrm>
                <a:off x="2432614" y="2820113"/>
                <a:ext cx="383093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b="1" dirty="0" smtClean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6</a:t>
                </a:r>
                <a:endParaRPr lang="ru-RU" sz="1600" b="1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06" name="TextBox 105"/>
              <p:cNvSpPr txBox="1"/>
              <p:nvPr/>
            </p:nvSpPr>
            <p:spPr>
              <a:xfrm>
                <a:off x="2902633" y="3349952"/>
                <a:ext cx="447318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b="1" dirty="0" smtClean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3</a:t>
                </a:r>
                <a:endParaRPr lang="ru-RU" sz="1600" b="1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07" name="TextBox 106"/>
              <p:cNvSpPr txBox="1"/>
              <p:nvPr/>
            </p:nvSpPr>
            <p:spPr>
              <a:xfrm>
                <a:off x="3349951" y="2714222"/>
                <a:ext cx="447318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b="1" dirty="0" smtClean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</a:t>
                </a:r>
                <a:endParaRPr lang="ru-RU" sz="1600" b="1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08" name="TextBox 107"/>
              <p:cNvSpPr txBox="1"/>
              <p:nvPr/>
            </p:nvSpPr>
            <p:spPr>
              <a:xfrm>
                <a:off x="3839999" y="3491890"/>
                <a:ext cx="447318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b="1" dirty="0" smtClean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4</a:t>
                </a:r>
                <a:endParaRPr lang="ru-RU" sz="1600" b="1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09" name="TextBox 108"/>
              <p:cNvSpPr txBox="1"/>
              <p:nvPr/>
            </p:nvSpPr>
            <p:spPr>
              <a:xfrm>
                <a:off x="4515117" y="2464533"/>
                <a:ext cx="447318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b="1" dirty="0" smtClean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4</a:t>
                </a:r>
                <a:endParaRPr lang="ru-RU" sz="1600" b="1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0" name="TextBox 109"/>
              <p:cNvSpPr txBox="1"/>
              <p:nvPr/>
            </p:nvSpPr>
            <p:spPr>
              <a:xfrm>
                <a:off x="4962435" y="2714222"/>
                <a:ext cx="447318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b="1" dirty="0" smtClean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7</a:t>
                </a:r>
                <a:endParaRPr lang="ru-RU" sz="1600" b="1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1" name="TextBox 110"/>
              <p:cNvSpPr txBox="1"/>
              <p:nvPr/>
            </p:nvSpPr>
            <p:spPr>
              <a:xfrm>
                <a:off x="5513857" y="3470123"/>
                <a:ext cx="447318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b="1" dirty="0" smtClean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2</a:t>
                </a:r>
                <a:endParaRPr lang="ru-RU" sz="1600" b="1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2" name="TextBox 111"/>
              <p:cNvSpPr txBox="1"/>
              <p:nvPr/>
            </p:nvSpPr>
            <p:spPr>
              <a:xfrm>
                <a:off x="6057144" y="3189445"/>
                <a:ext cx="447318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b="1" dirty="0" smtClean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</a:t>
                </a:r>
                <a:endParaRPr lang="ru-RU" sz="1600" b="1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3" name="TextBox 112"/>
              <p:cNvSpPr txBox="1"/>
              <p:nvPr/>
            </p:nvSpPr>
            <p:spPr>
              <a:xfrm>
                <a:off x="6834240" y="2279867"/>
                <a:ext cx="447318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b="1" dirty="0" smtClean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</a:t>
                </a:r>
                <a:endParaRPr lang="ru-RU" sz="1600" b="1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4" name="TextBox 113"/>
              <p:cNvSpPr txBox="1"/>
              <p:nvPr/>
            </p:nvSpPr>
            <p:spPr>
              <a:xfrm>
                <a:off x="7423359" y="3324316"/>
                <a:ext cx="447318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b="1" dirty="0" smtClean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6</a:t>
                </a:r>
                <a:endParaRPr lang="ru-RU" sz="1600" b="1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5" name="TextBox 114"/>
              <p:cNvSpPr txBox="1"/>
              <p:nvPr/>
            </p:nvSpPr>
            <p:spPr>
              <a:xfrm>
                <a:off x="8437637" y="3131107"/>
                <a:ext cx="447318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b="1" dirty="0" smtClean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4</a:t>
                </a:r>
                <a:endParaRPr lang="ru-RU" sz="1600" b="1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grpSp>
            <p:nvGrpSpPr>
              <p:cNvPr id="116" name="Группа 115"/>
              <p:cNvGrpSpPr/>
              <p:nvPr/>
            </p:nvGrpSpPr>
            <p:grpSpPr>
              <a:xfrm>
                <a:off x="9467849" y="3315773"/>
                <a:ext cx="1447800" cy="714038"/>
                <a:chOff x="9467849" y="3315773"/>
                <a:chExt cx="1447800" cy="714038"/>
              </a:xfrm>
            </p:grpSpPr>
            <p:sp>
              <p:nvSpPr>
                <p:cNvPr id="117" name="TextBox 116"/>
                <p:cNvSpPr txBox="1"/>
                <p:nvPr/>
              </p:nvSpPr>
              <p:spPr>
                <a:xfrm>
                  <a:off x="9832363" y="3660479"/>
                  <a:ext cx="447318" cy="369332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ru-RU" b="1" dirty="0" smtClean="0">
                      <a:solidFill>
                        <a:srgbClr val="00206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31</a:t>
                  </a:r>
                  <a:endParaRPr lang="ru-RU" sz="1600" b="1" dirty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pic>
              <p:nvPicPr>
                <p:cNvPr id="118" name="Picture 2"/>
                <p:cNvPicPr>
                  <a:picLocks noChangeAspect="1" noChangeArrowheads="1"/>
                </p:cNvPicPr>
                <p:nvPr/>
              </p:nvPicPr>
              <p:blipFill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467849" y="3315773"/>
                  <a:ext cx="1204913" cy="14387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119" name="Picture 3"/>
                <p:cNvPicPr>
                  <a:picLocks noChangeAspect="1" noChangeArrowheads="1"/>
                </p:cNvPicPr>
                <p:nvPr/>
              </p:nvPicPr>
              <p:blipFill>
                <a:blip r:embed="rId10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468338" y="3573065"/>
                  <a:ext cx="1447311" cy="13487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sp>
          <p:nvSpPr>
            <p:cNvPr id="100" name="Овал 99"/>
            <p:cNvSpPr/>
            <p:nvPr/>
          </p:nvSpPr>
          <p:spPr>
            <a:xfrm>
              <a:off x="2803465" y="3244067"/>
              <a:ext cx="447318" cy="302445"/>
            </a:xfrm>
            <a:prstGeom prst="ellipse">
              <a:avLst/>
            </a:pr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1" name="Овал 100"/>
            <p:cNvSpPr/>
            <p:nvPr/>
          </p:nvSpPr>
          <p:spPr>
            <a:xfrm>
              <a:off x="5414689" y="3378671"/>
              <a:ext cx="447318" cy="302445"/>
            </a:xfrm>
            <a:prstGeom prst="ellipse">
              <a:avLst/>
            </a:pr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2" name="Овал 101"/>
            <p:cNvSpPr/>
            <p:nvPr/>
          </p:nvSpPr>
          <p:spPr>
            <a:xfrm>
              <a:off x="7324191" y="3227990"/>
              <a:ext cx="447318" cy="302445"/>
            </a:xfrm>
            <a:prstGeom prst="ellipse">
              <a:avLst/>
            </a:pr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20" name="Прямоугольник 119"/>
          <p:cNvSpPr/>
          <p:nvPr/>
        </p:nvSpPr>
        <p:spPr>
          <a:xfrm>
            <a:off x="4810385" y="6613243"/>
            <a:ext cx="807720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Здесь и далее использованы результаты РФ в международных сравнительных исследованиях, рук. Г.С. Ковалёва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fld id="{B6F15528-21DE-4FAA-801E-634DDDAF4B2B}" type="slidenum">
              <a:rPr lang="ru-RU" smtClean="0"/>
              <a:pPr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59511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1472101" y="3443404"/>
            <a:ext cx="3648200" cy="1007297"/>
            <a:chOff x="2399924" y="2434776"/>
            <a:chExt cx="3648200" cy="1007297"/>
          </a:xfrm>
        </p:grpSpPr>
        <p:sp>
          <p:nvSpPr>
            <p:cNvPr id="28" name="Прямоугольник 27"/>
            <p:cNvSpPr/>
            <p:nvPr/>
          </p:nvSpPr>
          <p:spPr>
            <a:xfrm>
              <a:off x="3098291" y="2434776"/>
              <a:ext cx="2040944" cy="646331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ru-RU" sz="3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20 - 30%</a:t>
              </a: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2399924" y="3072741"/>
              <a:ext cx="36482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ru-RU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" name="Группа 3"/>
          <p:cNvGrpSpPr/>
          <p:nvPr/>
        </p:nvGrpSpPr>
        <p:grpSpPr>
          <a:xfrm>
            <a:off x="4088956" y="1900238"/>
            <a:ext cx="5330517" cy="2318401"/>
            <a:chOff x="5067353" y="447277"/>
            <a:chExt cx="5330517" cy="2318401"/>
          </a:xfrm>
        </p:grpSpPr>
        <p:sp>
          <p:nvSpPr>
            <p:cNvPr id="29" name="Прямоугольник 28"/>
            <p:cNvSpPr/>
            <p:nvPr/>
          </p:nvSpPr>
          <p:spPr>
            <a:xfrm>
              <a:off x="8356926" y="2119347"/>
              <a:ext cx="2040944" cy="646331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ru-RU" sz="3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90 - 95%</a:t>
              </a: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5067353" y="447277"/>
              <a:ext cx="36482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ru-RU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2" name="Прямоугольник 21"/>
          <p:cNvSpPr/>
          <p:nvPr/>
        </p:nvSpPr>
        <p:spPr>
          <a:xfrm>
            <a:off x="4766571" y="6554647"/>
            <a:ext cx="726485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Здесь и далее использованы результаты РФ в международных сравнительных исследованиях, рук. Г.С. Ковалёва</a:t>
            </a:r>
          </a:p>
        </p:txBody>
      </p:sp>
      <p:grpSp>
        <p:nvGrpSpPr>
          <p:cNvPr id="25" name="Группа 24">
            <a:extLst>
              <a:ext uri="{FF2B5EF4-FFF2-40B4-BE49-F238E27FC236}">
                <a16:creationId xmlns:a16="http://schemas.microsoft.com/office/drawing/2014/main" id="{5F409373-9A5B-44C8-816B-3CD4935B5D87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40E68789-FF1F-4ECD-A4C0-D92B4205B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2D304122-1789-4C7E-8E38-BD9AE1A3D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:a16="http://schemas.microsoft.com/office/drawing/2014/main" id="{7D340A83-4DFE-45F3-9D9F-69C94507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id="{C7D9E808-0EC6-4708-B386-6B8B12016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:a16="http://schemas.microsoft.com/office/drawing/2014/main" id="{3272587C-45EE-494E-B363-B30FF2FFA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5" name="Freeform 11">
              <a:extLst>
                <a:ext uri="{FF2B5EF4-FFF2-40B4-BE49-F238E27FC236}">
                  <a16:creationId xmlns:a16="http://schemas.microsoft.com/office/drawing/2014/main" id="{DBEEAD1B-C5F3-4CAB-89E6-CD120401C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6" name="Freeform 12">
              <a:extLst>
                <a:ext uri="{FF2B5EF4-FFF2-40B4-BE49-F238E27FC236}">
                  <a16:creationId xmlns:a16="http://schemas.microsoft.com/office/drawing/2014/main" id="{DFAB29F9-B38A-48AF-9670-8A649BC87E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7" name="Freeform 13">
              <a:extLst>
                <a:ext uri="{FF2B5EF4-FFF2-40B4-BE49-F238E27FC236}">
                  <a16:creationId xmlns:a16="http://schemas.microsoft.com/office/drawing/2014/main" id="{B7F53006-9B26-4E6D-9C8C-B85E38492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8" name="Freeform 14">
              <a:extLst>
                <a:ext uri="{FF2B5EF4-FFF2-40B4-BE49-F238E27FC236}">
                  <a16:creationId xmlns:a16="http://schemas.microsoft.com/office/drawing/2014/main" id="{B1633DED-5F87-446C-A4F7-8C7B4F8D9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9" name="Freeform 15">
              <a:extLst>
                <a:ext uri="{FF2B5EF4-FFF2-40B4-BE49-F238E27FC236}">
                  <a16:creationId xmlns:a16="http://schemas.microsoft.com/office/drawing/2014/main" id="{0247048E-69DF-444C-BDB4-A58F593E8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0" name="Freeform 16">
              <a:extLst>
                <a:ext uri="{FF2B5EF4-FFF2-40B4-BE49-F238E27FC236}">
                  <a16:creationId xmlns:a16="http://schemas.microsoft.com/office/drawing/2014/main" id="{CE9FB897-82E1-4D63-B526-522A6B5CC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1" name="Freeform 17">
              <a:extLst>
                <a:ext uri="{FF2B5EF4-FFF2-40B4-BE49-F238E27FC236}">
                  <a16:creationId xmlns:a16="http://schemas.microsoft.com/office/drawing/2014/main" id="{E75B5DBF-82DC-4DE6-A954-058E409C7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2" name="Freeform 18">
              <a:extLst>
                <a:ext uri="{FF2B5EF4-FFF2-40B4-BE49-F238E27FC236}">
                  <a16:creationId xmlns:a16="http://schemas.microsoft.com/office/drawing/2014/main" id="{8D318242-192B-473E-AADF-DA090CA6B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19">
              <a:extLst>
                <a:ext uri="{FF2B5EF4-FFF2-40B4-BE49-F238E27FC236}">
                  <a16:creationId xmlns:a16="http://schemas.microsoft.com/office/drawing/2014/main" id="{F1A4685F-C9AD-47B0-94F5-BC135E1FA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44" name="TextBox 43"/>
          <p:cNvSpPr txBox="1"/>
          <p:nvPr/>
        </p:nvSpPr>
        <p:spPr>
          <a:xfrm>
            <a:off x="315303" y="516623"/>
            <a:ext cx="1009207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езультаты </a:t>
            </a:r>
            <a:r>
              <a:rPr lang="en-US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ISA</a:t>
            </a: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</a:t>
            </a: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5-летние обучающиеся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15303" y="6651116"/>
            <a:ext cx="2313597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909353" y="4201538"/>
            <a:ext cx="5003703" cy="14380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72000" tIns="72000" rIns="72000" bIns="72000" rtlCol="0">
            <a:spAutoFit/>
          </a:bodyPr>
          <a:lstStyle/>
          <a:p>
            <a:r>
              <a:rPr lang="ru-RU" altLang="ru-RU" sz="1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</a:t>
            </a:r>
            <a:r>
              <a:rPr lang="ru-RU" altLang="ru-RU" sz="1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е</a:t>
            </a:r>
            <a:r>
              <a:rPr lang="ru-RU" altLang="ru-RU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остигают порогового уровня функциональной грамотности по всем </a:t>
            </a:r>
            <a:r>
              <a:rPr lang="ru-RU" altLang="ru-RU" sz="1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3-м областям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altLang="ru-RU" sz="14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чтению, </a:t>
            </a:r>
            <a:endParaRPr lang="ru-RU" altLang="ru-RU" sz="14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altLang="ru-RU" sz="14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атематике, </a:t>
            </a:r>
            <a:endParaRPr lang="ru-RU" altLang="ru-RU" sz="14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altLang="ru-RU" sz="14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естествознанию </a:t>
            </a:r>
            <a:r>
              <a:rPr lang="ru-RU" altLang="ru-RU" sz="14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или </a:t>
            </a:r>
            <a:r>
              <a:rPr lang="ru-RU" altLang="ru-RU" sz="14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тдельным </a:t>
            </a:r>
            <a:r>
              <a:rPr lang="ru-RU" altLang="ru-RU" sz="14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бластям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6142958" y="4218639"/>
            <a:ext cx="5003703" cy="14380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72000" tIns="72000" rIns="72000" bIns="72000" rtlCol="0">
            <a:spAutoFit/>
          </a:bodyPr>
          <a:lstStyle/>
          <a:p>
            <a:r>
              <a:rPr lang="ru-RU" altLang="ru-RU" sz="1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</a:t>
            </a:r>
            <a:r>
              <a:rPr lang="ru-RU" altLang="ru-RU" sz="1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е </a:t>
            </a:r>
            <a:r>
              <a:rPr lang="ru-RU" altLang="ru-RU" sz="1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остигают высоких уровней функциональной грамотности: </a:t>
            </a:r>
            <a:endParaRPr lang="ru-RU" altLang="ru-RU" sz="1400" b="1" dirty="0" smtClean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altLang="ru-RU" sz="14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пособности </a:t>
            </a:r>
            <a:r>
              <a:rPr lang="ru-RU" altLang="ru-RU" sz="14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амостоятельно </a:t>
            </a:r>
            <a:r>
              <a:rPr lang="ru-RU" altLang="ru-RU" sz="14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ыслить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altLang="ru-RU" sz="14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ункционировать </a:t>
            </a:r>
            <a:r>
              <a:rPr lang="ru-RU" altLang="ru-RU" sz="14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 сложных </a:t>
            </a:r>
            <a:r>
              <a:rPr lang="ru-RU" altLang="ru-RU" sz="14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словия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11486" y="1686466"/>
            <a:ext cx="2497293" cy="1545943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96958" y="1599192"/>
            <a:ext cx="2680924" cy="1721507"/>
          </a:xfrm>
          <a:prstGeom prst="rect">
            <a:avLst/>
          </a:prstGeom>
        </p:spPr>
      </p:pic>
      <p:cxnSp>
        <p:nvCxnSpPr>
          <p:cNvPr id="47" name="Прямая соединительная линия 46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767135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Группа 24">
            <a:extLst>
              <a:ext uri="{FF2B5EF4-FFF2-40B4-BE49-F238E27FC236}">
                <a16:creationId xmlns:a16="http://schemas.microsoft.com/office/drawing/2014/main" id="{5F409373-9A5B-44C8-816B-3CD4935B5D87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40E68789-FF1F-4ECD-A4C0-D92B4205B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2D304122-1789-4C7E-8E38-BD9AE1A3D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:a16="http://schemas.microsoft.com/office/drawing/2014/main" id="{7D340A83-4DFE-45F3-9D9F-69C94507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id="{C7D9E808-0EC6-4708-B386-6B8B12016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:a16="http://schemas.microsoft.com/office/drawing/2014/main" id="{3272587C-45EE-494E-B363-B30FF2FFA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5" name="Freeform 11">
              <a:extLst>
                <a:ext uri="{FF2B5EF4-FFF2-40B4-BE49-F238E27FC236}">
                  <a16:creationId xmlns:a16="http://schemas.microsoft.com/office/drawing/2014/main" id="{DBEEAD1B-C5F3-4CAB-89E6-CD120401C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6" name="Freeform 12">
              <a:extLst>
                <a:ext uri="{FF2B5EF4-FFF2-40B4-BE49-F238E27FC236}">
                  <a16:creationId xmlns:a16="http://schemas.microsoft.com/office/drawing/2014/main" id="{DFAB29F9-B38A-48AF-9670-8A649BC87E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7" name="Freeform 13">
              <a:extLst>
                <a:ext uri="{FF2B5EF4-FFF2-40B4-BE49-F238E27FC236}">
                  <a16:creationId xmlns:a16="http://schemas.microsoft.com/office/drawing/2014/main" id="{B7F53006-9B26-4E6D-9C8C-B85E38492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8" name="Freeform 14">
              <a:extLst>
                <a:ext uri="{FF2B5EF4-FFF2-40B4-BE49-F238E27FC236}">
                  <a16:creationId xmlns:a16="http://schemas.microsoft.com/office/drawing/2014/main" id="{B1633DED-5F87-446C-A4F7-8C7B4F8D9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9" name="Freeform 15">
              <a:extLst>
                <a:ext uri="{FF2B5EF4-FFF2-40B4-BE49-F238E27FC236}">
                  <a16:creationId xmlns:a16="http://schemas.microsoft.com/office/drawing/2014/main" id="{0247048E-69DF-444C-BDB4-A58F593E8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0" name="Freeform 16">
              <a:extLst>
                <a:ext uri="{FF2B5EF4-FFF2-40B4-BE49-F238E27FC236}">
                  <a16:creationId xmlns:a16="http://schemas.microsoft.com/office/drawing/2014/main" id="{CE9FB897-82E1-4D63-B526-522A6B5CC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1" name="Freeform 17">
              <a:extLst>
                <a:ext uri="{FF2B5EF4-FFF2-40B4-BE49-F238E27FC236}">
                  <a16:creationId xmlns:a16="http://schemas.microsoft.com/office/drawing/2014/main" id="{E75B5DBF-82DC-4DE6-A954-058E409C7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2" name="Freeform 18">
              <a:extLst>
                <a:ext uri="{FF2B5EF4-FFF2-40B4-BE49-F238E27FC236}">
                  <a16:creationId xmlns:a16="http://schemas.microsoft.com/office/drawing/2014/main" id="{8D318242-192B-473E-AADF-DA090CA6B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19">
              <a:extLst>
                <a:ext uri="{FF2B5EF4-FFF2-40B4-BE49-F238E27FC236}">
                  <a16:creationId xmlns:a16="http://schemas.microsoft.com/office/drawing/2014/main" id="{F1A4685F-C9AD-47B0-94F5-BC135E1FA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44" name="TextBox 43"/>
          <p:cNvSpPr txBox="1"/>
          <p:nvPr/>
        </p:nvSpPr>
        <p:spPr>
          <a:xfrm>
            <a:off x="497323" y="470893"/>
            <a:ext cx="9813784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труктура измерительных материалов </a:t>
            </a:r>
            <a:r>
              <a:rPr lang="en-US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ISA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15303" y="6651116"/>
            <a:ext cx="2313597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cxnSp>
        <p:nvCxnSpPr>
          <p:cNvPr id="33" name="Прямая соединительная линия 3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5" name="Диаграмма 5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84564654"/>
              </p:ext>
            </p:extLst>
          </p:nvPr>
        </p:nvGraphicFramePr>
        <p:xfrm>
          <a:off x="1595320" y="1400043"/>
          <a:ext cx="8201522" cy="5433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8" name="Прямоугольник 47"/>
          <p:cNvSpPr/>
          <p:nvPr/>
        </p:nvSpPr>
        <p:spPr>
          <a:xfrm>
            <a:off x="3191288" y="2146575"/>
            <a:ext cx="2743387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реативное </a:t>
            </a:r>
          </a:p>
          <a:p>
            <a:pPr lvl="0" algn="ctr"/>
            <a:r>
              <a:rPr lang="ru-RU" sz="1400" b="1" dirty="0" smtClean="0">
                <a:solidFill>
                  <a:schemeClr val="bg2">
                    <a:lumMod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ышление</a:t>
            </a:r>
          </a:p>
          <a:p>
            <a:pPr algn="ctr"/>
            <a:endParaRPr lang="ru-RU" sz="1400" b="1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азрешение  </a:t>
            </a:r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облем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лобальные 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омпетенции 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5861604" y="2713521"/>
            <a:ext cx="1611339" cy="73866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Читательская 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рамотность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09, 2018, 2027</a:t>
            </a:r>
          </a:p>
        </p:txBody>
      </p:sp>
      <p:sp>
        <p:nvSpPr>
          <p:cNvPr id="54" name="Стрелка: пятиугольник 27">
            <a:extLst>
              <a:ext uri="{FF2B5EF4-FFF2-40B4-BE49-F238E27FC236}">
                <a16:creationId xmlns:a16="http://schemas.microsoft.com/office/drawing/2014/main" id="{39050F66-3963-498A-9692-341E39573DA0}"/>
              </a:ext>
            </a:extLst>
          </p:cNvPr>
          <p:cNvSpPr/>
          <p:nvPr/>
        </p:nvSpPr>
        <p:spPr>
          <a:xfrm>
            <a:off x="897349" y="1770009"/>
            <a:ext cx="3110608" cy="943512"/>
          </a:xfrm>
          <a:prstGeom prst="homePlate">
            <a:avLst>
              <a:gd name="adj" fmla="val 28766"/>
            </a:avLst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едущий компонент в </a:t>
            </a:r>
            <a:r>
              <a:rPr lang="ru-RU" sz="12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21 г. </a:t>
            </a:r>
            <a:endParaRPr lang="ru-RU" sz="12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3" name="Стрелка: пятиугольник 27">
            <a:extLst>
              <a:ext uri="{FF2B5EF4-FFF2-40B4-BE49-F238E27FC236}">
                <a16:creationId xmlns:a16="http://schemas.microsoft.com/office/drawing/2014/main" id="{39050F66-3963-498A-9692-341E39573DA0}"/>
              </a:ext>
            </a:extLst>
          </p:cNvPr>
          <p:cNvSpPr/>
          <p:nvPr/>
        </p:nvSpPr>
        <p:spPr>
          <a:xfrm>
            <a:off x="771894" y="4388947"/>
            <a:ext cx="2778752" cy="943512"/>
          </a:xfrm>
          <a:prstGeom prst="homePlate">
            <a:avLst>
              <a:gd name="adj" fmla="val 28766"/>
            </a:avLst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едущий компонент в </a:t>
            </a:r>
            <a:r>
              <a:rPr lang="ru-RU" sz="12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24 г.</a:t>
            </a:r>
          </a:p>
          <a:p>
            <a:pPr algn="ctr"/>
            <a:r>
              <a:rPr lang="ru-RU" sz="12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Участвуют сегодняшние </a:t>
            </a:r>
            <a:r>
              <a:rPr lang="ru-RU" sz="12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ятиклассники</a:t>
            </a:r>
          </a:p>
        </p:txBody>
      </p:sp>
      <p:sp>
        <p:nvSpPr>
          <p:cNvPr id="49" name="Стрелка: пятиугольник 27">
            <a:extLst>
              <a:ext uri="{FF2B5EF4-FFF2-40B4-BE49-F238E27FC236}">
                <a16:creationId xmlns:a16="http://schemas.microsoft.com/office/drawing/2014/main" id="{39050F66-3963-498A-9692-341E39573DA0}"/>
              </a:ext>
            </a:extLst>
          </p:cNvPr>
          <p:cNvSpPr/>
          <p:nvPr/>
        </p:nvSpPr>
        <p:spPr>
          <a:xfrm flipH="1">
            <a:off x="7998249" y="3939779"/>
            <a:ext cx="3335544" cy="943512"/>
          </a:xfrm>
          <a:prstGeom prst="homePlate">
            <a:avLst>
              <a:gd name="adj" fmla="val 28766"/>
            </a:avLst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едущий компонент в</a:t>
            </a:r>
            <a:r>
              <a:rPr lang="ru-RU" sz="12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2021 </a:t>
            </a:r>
            <a:r>
              <a:rPr lang="ru-RU" sz="12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. Участвуют сегодняшние </a:t>
            </a:r>
            <a:r>
              <a:rPr lang="ru-RU" sz="12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осьмиклассники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2971847" y="4075194"/>
            <a:ext cx="271835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Естественно–научная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рамотность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06, 2015, 2024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6240720" y="4042203"/>
            <a:ext cx="1797465" cy="73866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атематическая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рамотность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03, 2012, 2021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4758204" y="5370885"/>
            <a:ext cx="201111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Финансовая</a:t>
            </a:r>
          </a:p>
          <a:p>
            <a:pPr lvl="0"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рамотность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99473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195</TotalTime>
  <Words>3391</Words>
  <Application>Microsoft Office PowerPoint</Application>
  <PresentationFormat>Широкоэкранный</PresentationFormat>
  <Paragraphs>552</Paragraphs>
  <Slides>22</Slides>
  <Notes>2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2</vt:i4>
      </vt:variant>
    </vt:vector>
  </HeadingPairs>
  <TitlesOfParts>
    <vt:vector size="31" baseType="lpstr">
      <vt:lpstr>Arial</vt:lpstr>
      <vt:lpstr>Calibri</vt:lpstr>
      <vt:lpstr>Calibri Light</vt:lpstr>
      <vt:lpstr>Open Sans</vt:lpstr>
      <vt:lpstr>Open Sans Extrabold</vt:lpstr>
      <vt:lpstr>Open Sans Light</vt:lpstr>
      <vt:lpstr>Times New Roman</vt:lpstr>
      <vt:lpstr>Тема Office</vt:lpstr>
      <vt:lpstr>Слайд think-cell</vt:lpstr>
      <vt:lpstr>ГРУППА КОМПАНИЙ «ПРОСВЕЩЕНИЕ» — СИСТЕМЕ ОБРАЗОВАНИЯ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Сервисы для педагогов на сайте Группы компаний «Просвещение» prosv.ru  </vt:lpstr>
      <vt:lpstr>СПАСИБО ЗА ВНИМАНИЕ!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Komp</dc:creator>
  <cp:lastModifiedBy>Грехова Оксана Юрьевна</cp:lastModifiedBy>
  <cp:revision>816</cp:revision>
  <cp:lastPrinted>2019-08-02T09:06:22Z</cp:lastPrinted>
  <dcterms:created xsi:type="dcterms:W3CDTF">2018-07-24T05:59:49Z</dcterms:created>
  <dcterms:modified xsi:type="dcterms:W3CDTF">2019-09-22T16:24:33Z</dcterms:modified>
</cp:coreProperties>
</file>